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2" r:id="rId2"/>
  </p:sldMasterIdLst>
  <p:notesMasterIdLst>
    <p:notesMasterId r:id="rId82"/>
  </p:notesMasterIdLst>
  <p:handoutMasterIdLst>
    <p:handoutMasterId r:id="rId83"/>
  </p:handoutMasterIdLst>
  <p:sldIdLst>
    <p:sldId id="460" r:id="rId3"/>
    <p:sldId id="452" r:id="rId4"/>
    <p:sldId id="461" r:id="rId5"/>
    <p:sldId id="398" r:id="rId6"/>
    <p:sldId id="397" r:id="rId7"/>
    <p:sldId id="396" r:id="rId8"/>
    <p:sldId id="411" r:id="rId9"/>
    <p:sldId id="412" r:id="rId10"/>
    <p:sldId id="413" r:id="rId11"/>
    <p:sldId id="414" r:id="rId12"/>
    <p:sldId id="415" r:id="rId13"/>
    <p:sldId id="416" r:id="rId14"/>
    <p:sldId id="417" r:id="rId15"/>
    <p:sldId id="418" r:id="rId16"/>
    <p:sldId id="419" r:id="rId17"/>
    <p:sldId id="420" r:id="rId18"/>
    <p:sldId id="421" r:id="rId19"/>
    <p:sldId id="422" r:id="rId20"/>
    <p:sldId id="423" r:id="rId21"/>
    <p:sldId id="424" r:id="rId22"/>
    <p:sldId id="425" r:id="rId23"/>
    <p:sldId id="427" r:id="rId24"/>
    <p:sldId id="428" r:id="rId25"/>
    <p:sldId id="429" r:id="rId26"/>
    <p:sldId id="430" r:id="rId27"/>
    <p:sldId id="431" r:id="rId28"/>
    <p:sldId id="432" r:id="rId29"/>
    <p:sldId id="433" r:id="rId30"/>
    <p:sldId id="434" r:id="rId31"/>
    <p:sldId id="435" r:id="rId32"/>
    <p:sldId id="436" r:id="rId33"/>
    <p:sldId id="437" r:id="rId34"/>
    <p:sldId id="438" r:id="rId35"/>
    <p:sldId id="439" r:id="rId36"/>
    <p:sldId id="440" r:id="rId37"/>
    <p:sldId id="441" r:id="rId38"/>
    <p:sldId id="442" r:id="rId39"/>
    <p:sldId id="449" r:id="rId40"/>
    <p:sldId id="450" r:id="rId41"/>
    <p:sldId id="443" r:id="rId42"/>
    <p:sldId id="372" r:id="rId43"/>
    <p:sldId id="444" r:id="rId44"/>
    <p:sldId id="373" r:id="rId45"/>
    <p:sldId id="374" r:id="rId46"/>
    <p:sldId id="489" r:id="rId47"/>
    <p:sldId id="445" r:id="rId48"/>
    <p:sldId id="454" r:id="rId49"/>
    <p:sldId id="455" r:id="rId50"/>
    <p:sldId id="456" r:id="rId51"/>
    <p:sldId id="457" r:id="rId52"/>
    <p:sldId id="446" r:id="rId53"/>
    <p:sldId id="448" r:id="rId54"/>
    <p:sldId id="447" r:id="rId55"/>
    <p:sldId id="485" r:id="rId56"/>
    <p:sldId id="383" r:id="rId57"/>
    <p:sldId id="382" r:id="rId58"/>
    <p:sldId id="381" r:id="rId59"/>
    <p:sldId id="384" r:id="rId60"/>
    <p:sldId id="385" r:id="rId61"/>
    <p:sldId id="386" r:id="rId62"/>
    <p:sldId id="387" r:id="rId63"/>
    <p:sldId id="388" r:id="rId64"/>
    <p:sldId id="389" r:id="rId65"/>
    <p:sldId id="391" r:id="rId66"/>
    <p:sldId id="392" r:id="rId67"/>
    <p:sldId id="394" r:id="rId68"/>
    <p:sldId id="474" r:id="rId69"/>
    <p:sldId id="459" r:id="rId70"/>
    <p:sldId id="476" r:id="rId71"/>
    <p:sldId id="477" r:id="rId72"/>
    <p:sldId id="478" r:id="rId73"/>
    <p:sldId id="480" r:id="rId74"/>
    <p:sldId id="481" r:id="rId75"/>
    <p:sldId id="482" r:id="rId76"/>
    <p:sldId id="483" r:id="rId77"/>
    <p:sldId id="486" r:id="rId78"/>
    <p:sldId id="487" r:id="rId79"/>
    <p:sldId id="488" r:id="rId80"/>
    <p:sldId id="484" r:id="rId8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24C7"/>
    <a:srgbClr val="2C16AE"/>
    <a:srgbClr val="FFCC99"/>
    <a:srgbClr val="33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2"/>
    <p:restoredTop sz="93983" autoAdjust="0"/>
  </p:normalViewPr>
  <p:slideViewPr>
    <p:cSldViewPr showGuides="1">
      <p:cViewPr>
        <p:scale>
          <a:sx n="80" d="100"/>
          <a:sy n="80" d="100"/>
        </p:scale>
        <p:origin x="-2514" y="-7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2604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presProps" Target="pres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viewProps" Target="view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E7B1A5-5E41-40AD-94E7-4CE5295AFC57}" type="doc">
      <dgm:prSet loTypeId="urn:microsoft.com/office/officeart/2005/8/layout/pyramid2" loCatId="list" qsTypeId="urn:microsoft.com/office/officeart/2005/8/quickstyle/simple3" qsCatId="simple" csTypeId="urn:microsoft.com/office/officeart/2005/8/colors/colorful5" csCatId="colorful" phldr="1"/>
      <dgm:spPr/>
    </dgm:pt>
    <dgm:pt modelId="{44348C94-8616-4051-AF91-A32E57CF1AD4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>
              <a:latin typeface="Times New Roman" pitchFamily="18" charset="0"/>
              <a:cs typeface="Times New Roman" pitchFamily="18" charset="0"/>
            </a:rPr>
            <a:t>Сотворчество учителя и ученика (возможность быть субъектом), диалог</a:t>
          </a: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C5B7FE97-44BC-46A1-A0AE-2E2DB0F09AF3}" type="parTrans" cxnId="{2AF57A1E-FBC5-4629-A0D7-FDF1E962733C}">
      <dgm:prSet/>
      <dgm:spPr/>
      <dgm:t>
        <a:bodyPr/>
        <a:lstStyle/>
        <a:p>
          <a:endParaRPr lang="ru-RU"/>
        </a:p>
      </dgm:t>
    </dgm:pt>
    <dgm:pt modelId="{621F9B3B-3C6A-4941-AA15-C7107ECF518B}" type="sibTrans" cxnId="{2AF57A1E-FBC5-4629-A0D7-FDF1E962733C}">
      <dgm:prSet/>
      <dgm:spPr/>
      <dgm:t>
        <a:bodyPr/>
        <a:lstStyle/>
        <a:p>
          <a:endParaRPr lang="ru-RU"/>
        </a:p>
      </dgm:t>
    </dgm:pt>
    <dgm:pt modelId="{3D80A48E-36B9-446F-A591-658ED0E81F21}">
      <dgm:prSet phldrT="[Текст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Формирование эмоционального интеллекта, наряду  с </a:t>
          </a:r>
          <a:r>
            <a:rPr lang="ru-RU" sz="1200" dirty="0" err="1" smtClean="0">
              <a:latin typeface="Times New Roman" pitchFamily="18" charset="0"/>
              <a:cs typeface="Times New Roman" pitchFamily="18" charset="0"/>
            </a:rPr>
            <a:t>метапредметными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 умениями 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5326FCC9-E267-47F4-8AD8-39D975C92F44}" type="parTrans" cxnId="{10B34B2A-729F-4C0B-97A5-7A2E53D87A96}">
      <dgm:prSet/>
      <dgm:spPr/>
      <dgm:t>
        <a:bodyPr/>
        <a:lstStyle/>
        <a:p>
          <a:endParaRPr lang="ru-RU"/>
        </a:p>
      </dgm:t>
    </dgm:pt>
    <dgm:pt modelId="{228F7204-960B-413D-A296-C9BC9F424180}" type="sibTrans" cxnId="{10B34B2A-729F-4C0B-97A5-7A2E53D87A96}">
      <dgm:prSet/>
      <dgm:spPr/>
      <dgm:t>
        <a:bodyPr/>
        <a:lstStyle/>
        <a:p>
          <a:endParaRPr lang="ru-RU"/>
        </a:p>
      </dgm:t>
    </dgm:pt>
    <dgm:pt modelId="{47CCCB25-B8C4-46BD-AF9B-9E77168E0C16}">
      <dgm:prSet phldrT="[Текст]" custT="1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dirty="0" smtClean="0">
              <a:latin typeface="Times New Roman" pitchFamily="18" charset="0"/>
              <a:cs typeface="Times New Roman" pitchFamily="18" charset="0"/>
            </a:rPr>
            <a:t>От </a:t>
          </a:r>
          <a:r>
            <a:rPr lang="ru-RU" sz="1400" dirty="0" err="1" smtClean="0">
              <a:latin typeface="Times New Roman" pitchFamily="18" charset="0"/>
              <a:cs typeface="Times New Roman" pitchFamily="18" charset="0"/>
            </a:rPr>
            <a:t>межпредметных</a:t>
          </a:r>
          <a:r>
            <a:rPr lang="ru-RU" sz="1400" dirty="0" smtClean="0">
              <a:latin typeface="Times New Roman" pitchFamily="18" charset="0"/>
              <a:cs typeface="Times New Roman" pitchFamily="18" charset="0"/>
            </a:rPr>
            <a:t> связей к интеграции </a:t>
          </a: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49D8007F-A035-4205-96ED-078924D58A4F}" type="parTrans" cxnId="{AC8B850E-6F23-4892-BE25-93D3023857DF}">
      <dgm:prSet/>
      <dgm:spPr/>
      <dgm:t>
        <a:bodyPr/>
        <a:lstStyle/>
        <a:p>
          <a:endParaRPr lang="ru-RU"/>
        </a:p>
      </dgm:t>
    </dgm:pt>
    <dgm:pt modelId="{AFD2225C-9B7C-4CB0-8395-85EE5E806F11}" type="sibTrans" cxnId="{AC8B850E-6F23-4892-BE25-93D3023857DF}">
      <dgm:prSet/>
      <dgm:spPr/>
      <dgm:t>
        <a:bodyPr/>
        <a:lstStyle/>
        <a:p>
          <a:endParaRPr lang="ru-RU"/>
        </a:p>
      </dgm:t>
    </dgm:pt>
    <dgm:pt modelId="{468E7911-028C-449F-B82F-4D86B6076C92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Опора в методике преподавания</a:t>
          </a:r>
        </a:p>
        <a:p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на  </a:t>
          </a:r>
          <a:r>
            <a: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ироду искусства, природу ребенка </a:t>
          </a:r>
        </a:p>
        <a:p>
          <a:r>
            <a:rPr lang="ru-RU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и природу художественного творчества</a:t>
          </a:r>
          <a:endParaRPr lang="ru-RU" sz="1200" dirty="0">
            <a:latin typeface="Times New Roman" pitchFamily="18" charset="0"/>
            <a:cs typeface="Times New Roman" pitchFamily="18" charset="0"/>
          </a:endParaRPr>
        </a:p>
      </dgm:t>
    </dgm:pt>
    <dgm:pt modelId="{D1F46C74-F5D9-4FD2-99FF-E7B3075ED19B}" type="parTrans" cxnId="{96B41B9F-F37E-4B4A-9E22-290B46C2B0F6}">
      <dgm:prSet/>
      <dgm:spPr/>
      <dgm:t>
        <a:bodyPr/>
        <a:lstStyle/>
        <a:p>
          <a:endParaRPr lang="ru-RU"/>
        </a:p>
      </dgm:t>
    </dgm:pt>
    <dgm:pt modelId="{2DD02C98-04F8-45D9-AF54-1397CA7A826F}" type="sibTrans" cxnId="{96B41B9F-F37E-4B4A-9E22-290B46C2B0F6}">
      <dgm:prSet/>
      <dgm:spPr/>
      <dgm:t>
        <a:bodyPr/>
        <a:lstStyle/>
        <a:p>
          <a:endParaRPr lang="ru-RU"/>
        </a:p>
      </dgm:t>
    </dgm:pt>
    <dgm:pt modelId="{99151408-A053-4A3C-A622-691DC8530EFC}">
      <dgm:prSet custT="1">
        <dgm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dirty="0" smtClean="0">
              <a:latin typeface="Times New Roman" pitchFamily="18" charset="0"/>
              <a:cs typeface="Times New Roman" pitchFamily="18" charset="0"/>
            </a:rPr>
            <a:t>Современные ИКТ технологии </a:t>
          </a: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C7319D40-26D0-4BF0-83C3-58785463A35F}" type="parTrans" cxnId="{6341207E-AB54-4BED-8ED8-90324F1D3ABB}">
      <dgm:prSet/>
      <dgm:spPr/>
      <dgm:t>
        <a:bodyPr/>
        <a:lstStyle/>
        <a:p>
          <a:endParaRPr lang="ru-RU"/>
        </a:p>
      </dgm:t>
    </dgm:pt>
    <dgm:pt modelId="{7AD52B0F-33C9-4BC6-8007-842699EC4EA6}" type="sibTrans" cxnId="{6341207E-AB54-4BED-8ED8-90324F1D3ABB}">
      <dgm:prSet/>
      <dgm:spPr/>
      <dgm:t>
        <a:bodyPr/>
        <a:lstStyle/>
        <a:p>
          <a:endParaRPr lang="ru-RU"/>
        </a:p>
      </dgm:t>
    </dgm:pt>
    <dgm:pt modelId="{AB73B376-07AD-4910-9D28-D3C48768A04B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>
              <a:latin typeface="Times New Roman" pitchFamily="18" charset="0"/>
              <a:cs typeface="Times New Roman" pitchFamily="18" charset="0"/>
            </a:rPr>
            <a:t>Развитие музыкально-творческих способностей учащихся</a:t>
          </a: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3E41A167-F59E-4995-88D1-BB726E2E5357}" type="parTrans" cxnId="{712FCE67-91E7-40D6-A017-EB7259E1C7FC}">
      <dgm:prSet/>
      <dgm:spPr/>
      <dgm:t>
        <a:bodyPr/>
        <a:lstStyle/>
        <a:p>
          <a:endParaRPr lang="ru-RU"/>
        </a:p>
      </dgm:t>
    </dgm:pt>
    <dgm:pt modelId="{ACE6BEDA-EF7A-4000-83BC-68C37C62648E}" type="sibTrans" cxnId="{712FCE67-91E7-40D6-A017-EB7259E1C7FC}">
      <dgm:prSet/>
      <dgm:spPr/>
      <dgm:t>
        <a:bodyPr/>
        <a:lstStyle/>
        <a:p>
          <a:endParaRPr lang="ru-RU"/>
        </a:p>
      </dgm:t>
    </dgm:pt>
    <dgm:pt modelId="{59FA00FD-D3CF-4A1E-99DC-2EA3022D61C6}" type="pres">
      <dgm:prSet presAssocID="{AFE7B1A5-5E41-40AD-94E7-4CE5295AFC57}" presName="compositeShape" presStyleCnt="0">
        <dgm:presLayoutVars>
          <dgm:dir/>
          <dgm:resizeHandles/>
        </dgm:presLayoutVars>
      </dgm:prSet>
      <dgm:spPr/>
    </dgm:pt>
    <dgm:pt modelId="{401184C1-1A2E-4E42-94DD-266A4A5D1C6B}" type="pres">
      <dgm:prSet presAssocID="{AFE7B1A5-5E41-40AD-94E7-4CE5295AFC57}" presName="pyramid" presStyleLbl="node1" presStyleIdx="0" presStyleCnt="1" custScaleX="95965" custScaleY="86044" custLinFactNeighborX="-3448" custLinFactNeighborY="109"/>
      <dgm:spPr>
        <a:prstGeom prst="diamond">
          <a:avLst/>
        </a:prstGeom>
      </dgm:spPr>
    </dgm:pt>
    <dgm:pt modelId="{046C67BB-8DA0-49C2-B0E7-8DF05711C4F4}" type="pres">
      <dgm:prSet presAssocID="{AFE7B1A5-5E41-40AD-94E7-4CE5295AFC57}" presName="theList" presStyleCnt="0"/>
      <dgm:spPr/>
    </dgm:pt>
    <dgm:pt modelId="{67CAE95C-1E84-4553-8477-06AF6B1BB1E9}" type="pres">
      <dgm:prSet presAssocID="{44348C94-8616-4051-AF91-A32E57CF1AD4}" presName="aNode" presStyleLbl="fgAcc1" presStyleIdx="0" presStyleCnt="6" custScaleX="1039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2F21C6-4886-40EC-9F88-AADDD39AA59F}" type="pres">
      <dgm:prSet presAssocID="{44348C94-8616-4051-AF91-A32E57CF1AD4}" presName="aSpace" presStyleCnt="0"/>
      <dgm:spPr/>
    </dgm:pt>
    <dgm:pt modelId="{F6FBDA4A-19D3-4D5E-94AF-1985C68495D9}" type="pres">
      <dgm:prSet presAssocID="{3D80A48E-36B9-446F-A591-658ED0E81F21}" presName="aNode" presStyleLbl="fg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AA708A-D785-461C-BE0A-7B1D4147F73D}" type="pres">
      <dgm:prSet presAssocID="{3D80A48E-36B9-446F-A591-658ED0E81F21}" presName="aSpace" presStyleCnt="0"/>
      <dgm:spPr/>
    </dgm:pt>
    <dgm:pt modelId="{F4602B61-F17B-4156-80D7-125A52F978AC}" type="pres">
      <dgm:prSet presAssocID="{468E7911-028C-449F-B82F-4D86B6076C92}" presName="aNode" presStyleLbl="fgAcc1" presStyleIdx="2" presStyleCnt="6" custScaleX="103194" custScaleY="125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C9866E-FF35-4E41-9689-B983BA25412F}" type="pres">
      <dgm:prSet presAssocID="{468E7911-028C-449F-B82F-4D86B6076C92}" presName="aSpace" presStyleCnt="0"/>
      <dgm:spPr/>
    </dgm:pt>
    <dgm:pt modelId="{7FD25DE7-3812-401C-959D-A41189B72259}" type="pres">
      <dgm:prSet presAssocID="{47CCCB25-B8C4-46BD-AF9B-9E77168E0C16}" presName="aNode" presStyleLbl="fg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4E25B1-C18A-44AB-A7F2-456AEAD25D00}" type="pres">
      <dgm:prSet presAssocID="{47CCCB25-B8C4-46BD-AF9B-9E77168E0C16}" presName="aSpace" presStyleCnt="0"/>
      <dgm:spPr/>
    </dgm:pt>
    <dgm:pt modelId="{50EE2E66-C542-485D-82E5-BEB23EED3DBE}" type="pres">
      <dgm:prSet presAssocID="{AB73B376-07AD-4910-9D28-D3C48768A04B}" presName="aNode" presStyleLbl="fgAcc1" presStyleIdx="4" presStyleCnt="6" custLinFactNeighborX="-415" custLinFactNeighborY="-243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83BB0F-0F74-43E2-99CE-378731179C0A}" type="pres">
      <dgm:prSet presAssocID="{AB73B376-07AD-4910-9D28-D3C48768A04B}" presName="aSpace" presStyleCnt="0"/>
      <dgm:spPr/>
    </dgm:pt>
    <dgm:pt modelId="{E32128E4-0854-4834-9BC0-0141A77EA91E}" type="pres">
      <dgm:prSet presAssocID="{99151408-A053-4A3C-A622-691DC8530EFC}" presName="aNode" presStyleLbl="fg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328EDB-78AC-4C06-B64A-EA49E741235A}" type="pres">
      <dgm:prSet presAssocID="{99151408-A053-4A3C-A622-691DC8530EFC}" presName="aSpace" presStyleCnt="0"/>
      <dgm:spPr/>
    </dgm:pt>
  </dgm:ptLst>
  <dgm:cxnLst>
    <dgm:cxn modelId="{2AF57A1E-FBC5-4629-A0D7-FDF1E962733C}" srcId="{AFE7B1A5-5E41-40AD-94E7-4CE5295AFC57}" destId="{44348C94-8616-4051-AF91-A32E57CF1AD4}" srcOrd="0" destOrd="0" parTransId="{C5B7FE97-44BC-46A1-A0AE-2E2DB0F09AF3}" sibTransId="{621F9B3B-3C6A-4941-AA15-C7107ECF518B}"/>
    <dgm:cxn modelId="{AC8B850E-6F23-4892-BE25-93D3023857DF}" srcId="{AFE7B1A5-5E41-40AD-94E7-4CE5295AFC57}" destId="{47CCCB25-B8C4-46BD-AF9B-9E77168E0C16}" srcOrd="3" destOrd="0" parTransId="{49D8007F-A035-4205-96ED-078924D58A4F}" sibTransId="{AFD2225C-9B7C-4CB0-8395-85EE5E806F11}"/>
    <dgm:cxn modelId="{6341207E-AB54-4BED-8ED8-90324F1D3ABB}" srcId="{AFE7B1A5-5E41-40AD-94E7-4CE5295AFC57}" destId="{99151408-A053-4A3C-A622-691DC8530EFC}" srcOrd="5" destOrd="0" parTransId="{C7319D40-26D0-4BF0-83C3-58785463A35F}" sibTransId="{7AD52B0F-33C9-4BC6-8007-842699EC4EA6}"/>
    <dgm:cxn modelId="{712FCE67-91E7-40D6-A017-EB7259E1C7FC}" srcId="{AFE7B1A5-5E41-40AD-94E7-4CE5295AFC57}" destId="{AB73B376-07AD-4910-9D28-D3C48768A04B}" srcOrd="4" destOrd="0" parTransId="{3E41A167-F59E-4995-88D1-BB726E2E5357}" sibTransId="{ACE6BEDA-EF7A-4000-83BC-68C37C62648E}"/>
    <dgm:cxn modelId="{10B34B2A-729F-4C0B-97A5-7A2E53D87A96}" srcId="{AFE7B1A5-5E41-40AD-94E7-4CE5295AFC57}" destId="{3D80A48E-36B9-446F-A591-658ED0E81F21}" srcOrd="1" destOrd="0" parTransId="{5326FCC9-E267-47F4-8AD8-39D975C92F44}" sibTransId="{228F7204-960B-413D-A296-C9BC9F424180}"/>
    <dgm:cxn modelId="{96B41B9F-F37E-4B4A-9E22-290B46C2B0F6}" srcId="{AFE7B1A5-5E41-40AD-94E7-4CE5295AFC57}" destId="{468E7911-028C-449F-B82F-4D86B6076C92}" srcOrd="2" destOrd="0" parTransId="{D1F46C74-F5D9-4FD2-99FF-E7B3075ED19B}" sibTransId="{2DD02C98-04F8-45D9-AF54-1397CA7A826F}"/>
    <dgm:cxn modelId="{DBBF2832-92F2-4E0C-B618-81031114BFB7}" type="presOf" srcId="{468E7911-028C-449F-B82F-4D86B6076C92}" destId="{F4602B61-F17B-4156-80D7-125A52F978AC}" srcOrd="0" destOrd="0" presId="urn:microsoft.com/office/officeart/2005/8/layout/pyramid2"/>
    <dgm:cxn modelId="{645956F8-39A9-4FE3-B0A0-95F60CF4BE9D}" type="presOf" srcId="{99151408-A053-4A3C-A622-691DC8530EFC}" destId="{E32128E4-0854-4834-9BC0-0141A77EA91E}" srcOrd="0" destOrd="0" presId="urn:microsoft.com/office/officeart/2005/8/layout/pyramid2"/>
    <dgm:cxn modelId="{F0D265E6-3E90-4AB3-817A-2CB8D397E5E2}" type="presOf" srcId="{47CCCB25-B8C4-46BD-AF9B-9E77168E0C16}" destId="{7FD25DE7-3812-401C-959D-A41189B72259}" srcOrd="0" destOrd="0" presId="urn:microsoft.com/office/officeart/2005/8/layout/pyramid2"/>
    <dgm:cxn modelId="{CF0EFD1C-BE7E-456C-B97C-EEC25B6FB1FF}" type="presOf" srcId="{AFE7B1A5-5E41-40AD-94E7-4CE5295AFC57}" destId="{59FA00FD-D3CF-4A1E-99DC-2EA3022D61C6}" srcOrd="0" destOrd="0" presId="urn:microsoft.com/office/officeart/2005/8/layout/pyramid2"/>
    <dgm:cxn modelId="{A8480B27-5AB1-4F06-8247-5821223BC5CA}" type="presOf" srcId="{AB73B376-07AD-4910-9D28-D3C48768A04B}" destId="{50EE2E66-C542-485D-82E5-BEB23EED3DBE}" srcOrd="0" destOrd="0" presId="urn:microsoft.com/office/officeart/2005/8/layout/pyramid2"/>
    <dgm:cxn modelId="{D7F769A2-E557-4A95-B74F-EC8EB0916466}" type="presOf" srcId="{44348C94-8616-4051-AF91-A32E57CF1AD4}" destId="{67CAE95C-1E84-4553-8477-06AF6B1BB1E9}" srcOrd="0" destOrd="0" presId="urn:microsoft.com/office/officeart/2005/8/layout/pyramid2"/>
    <dgm:cxn modelId="{065B3937-91E3-4EAA-AC6E-6649D7F85513}" type="presOf" srcId="{3D80A48E-36B9-446F-A591-658ED0E81F21}" destId="{F6FBDA4A-19D3-4D5E-94AF-1985C68495D9}" srcOrd="0" destOrd="0" presId="urn:microsoft.com/office/officeart/2005/8/layout/pyramid2"/>
    <dgm:cxn modelId="{DF2A34D7-C943-4861-9FCE-8EFE9D68084F}" type="presParOf" srcId="{59FA00FD-D3CF-4A1E-99DC-2EA3022D61C6}" destId="{401184C1-1A2E-4E42-94DD-266A4A5D1C6B}" srcOrd="0" destOrd="0" presId="urn:microsoft.com/office/officeart/2005/8/layout/pyramid2"/>
    <dgm:cxn modelId="{F1C1D7A9-3F19-4C2C-A472-F0004AB1D24A}" type="presParOf" srcId="{59FA00FD-D3CF-4A1E-99DC-2EA3022D61C6}" destId="{046C67BB-8DA0-49C2-B0E7-8DF05711C4F4}" srcOrd="1" destOrd="0" presId="urn:microsoft.com/office/officeart/2005/8/layout/pyramid2"/>
    <dgm:cxn modelId="{DFDAAFF6-41A2-4BE7-8B7C-E0128BB99AEE}" type="presParOf" srcId="{046C67BB-8DA0-49C2-B0E7-8DF05711C4F4}" destId="{67CAE95C-1E84-4553-8477-06AF6B1BB1E9}" srcOrd="0" destOrd="0" presId="urn:microsoft.com/office/officeart/2005/8/layout/pyramid2"/>
    <dgm:cxn modelId="{42700981-109A-4B5F-8B3A-5E54E23E716D}" type="presParOf" srcId="{046C67BB-8DA0-49C2-B0E7-8DF05711C4F4}" destId="{9D2F21C6-4886-40EC-9F88-AADDD39AA59F}" srcOrd="1" destOrd="0" presId="urn:microsoft.com/office/officeart/2005/8/layout/pyramid2"/>
    <dgm:cxn modelId="{2F6FCB63-A17B-4286-8E3A-D60D307916C3}" type="presParOf" srcId="{046C67BB-8DA0-49C2-B0E7-8DF05711C4F4}" destId="{F6FBDA4A-19D3-4D5E-94AF-1985C68495D9}" srcOrd="2" destOrd="0" presId="urn:microsoft.com/office/officeart/2005/8/layout/pyramid2"/>
    <dgm:cxn modelId="{45297359-C6B6-48C3-89A3-6C5BCF77D6D9}" type="presParOf" srcId="{046C67BB-8DA0-49C2-B0E7-8DF05711C4F4}" destId="{50AA708A-D785-461C-BE0A-7B1D4147F73D}" srcOrd="3" destOrd="0" presId="urn:microsoft.com/office/officeart/2005/8/layout/pyramid2"/>
    <dgm:cxn modelId="{C65B38CB-C33A-442D-BBF9-D932D9BCC39A}" type="presParOf" srcId="{046C67BB-8DA0-49C2-B0E7-8DF05711C4F4}" destId="{F4602B61-F17B-4156-80D7-125A52F978AC}" srcOrd="4" destOrd="0" presId="urn:microsoft.com/office/officeart/2005/8/layout/pyramid2"/>
    <dgm:cxn modelId="{8801DA74-0BB8-4D39-BCE1-19C528ABB35D}" type="presParOf" srcId="{046C67BB-8DA0-49C2-B0E7-8DF05711C4F4}" destId="{E7C9866E-FF35-4E41-9689-B983BA25412F}" srcOrd="5" destOrd="0" presId="urn:microsoft.com/office/officeart/2005/8/layout/pyramid2"/>
    <dgm:cxn modelId="{F48F842D-55A5-41CC-B5D1-C41532E8DD04}" type="presParOf" srcId="{046C67BB-8DA0-49C2-B0E7-8DF05711C4F4}" destId="{7FD25DE7-3812-401C-959D-A41189B72259}" srcOrd="6" destOrd="0" presId="urn:microsoft.com/office/officeart/2005/8/layout/pyramid2"/>
    <dgm:cxn modelId="{6B6D146F-E1C5-4F95-B34E-66E6867954AE}" type="presParOf" srcId="{046C67BB-8DA0-49C2-B0E7-8DF05711C4F4}" destId="{6A4E25B1-C18A-44AB-A7F2-456AEAD25D00}" srcOrd="7" destOrd="0" presId="urn:microsoft.com/office/officeart/2005/8/layout/pyramid2"/>
    <dgm:cxn modelId="{248DAF0F-0B7C-416E-B1FA-FDE95C8876E7}" type="presParOf" srcId="{046C67BB-8DA0-49C2-B0E7-8DF05711C4F4}" destId="{50EE2E66-C542-485D-82E5-BEB23EED3DBE}" srcOrd="8" destOrd="0" presId="urn:microsoft.com/office/officeart/2005/8/layout/pyramid2"/>
    <dgm:cxn modelId="{0B2958D2-D974-447C-89D5-9C3F9677B165}" type="presParOf" srcId="{046C67BB-8DA0-49C2-B0E7-8DF05711C4F4}" destId="{B583BB0F-0F74-43E2-99CE-378731179C0A}" srcOrd="9" destOrd="0" presId="urn:microsoft.com/office/officeart/2005/8/layout/pyramid2"/>
    <dgm:cxn modelId="{47C95DB4-C61D-4A22-A543-922CBC6F3AA8}" type="presParOf" srcId="{046C67BB-8DA0-49C2-B0E7-8DF05711C4F4}" destId="{E32128E4-0854-4834-9BC0-0141A77EA91E}" srcOrd="10" destOrd="0" presId="urn:microsoft.com/office/officeart/2005/8/layout/pyramid2"/>
    <dgm:cxn modelId="{094DD928-0287-44EA-9DCF-E646D4E2A9C0}" type="presParOf" srcId="{046C67BB-8DA0-49C2-B0E7-8DF05711C4F4}" destId="{8C328EDB-78AC-4C06-B64A-EA49E741235A}" srcOrd="11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8B529D-F5F2-4623-BA6D-F897B0E33455}" type="doc">
      <dgm:prSet loTypeId="urn:microsoft.com/office/officeart/2005/8/layout/hierarchy1" loCatId="hierarchy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D4944B54-57B2-4381-B572-7537C6340EC1}">
      <dgm:prSet phldrT="[Текст]" custT="1"/>
      <dgm:spPr/>
      <dgm:t>
        <a:bodyPr/>
        <a:lstStyle/>
        <a:p>
          <a:r>
            <a:rPr lang="ru-RU" sz="1600" dirty="0" smtClean="0"/>
            <a:t>В содержании учебника </a:t>
          </a:r>
        </a:p>
        <a:p>
          <a:r>
            <a:rPr lang="ru-RU" sz="1600" dirty="0" smtClean="0"/>
            <a:t>2 раздела:</a:t>
          </a:r>
          <a:endParaRPr lang="ru-RU" sz="1600" dirty="0"/>
        </a:p>
      </dgm:t>
    </dgm:pt>
    <dgm:pt modelId="{7172DD72-BC61-46A3-AEA7-65C39425A293}" type="parTrans" cxnId="{F8668655-DE1D-498E-B98A-0FB0A63BF12D}">
      <dgm:prSet/>
      <dgm:spPr/>
      <dgm:t>
        <a:bodyPr/>
        <a:lstStyle/>
        <a:p>
          <a:endParaRPr lang="ru-RU"/>
        </a:p>
      </dgm:t>
    </dgm:pt>
    <dgm:pt modelId="{AED5C408-92FA-4B90-93BE-98E13596B2BE}" type="sibTrans" cxnId="{F8668655-DE1D-498E-B98A-0FB0A63BF12D}">
      <dgm:prSet/>
      <dgm:spPr/>
      <dgm:t>
        <a:bodyPr/>
        <a:lstStyle/>
        <a:p>
          <a:endParaRPr lang="ru-RU"/>
        </a:p>
      </dgm:t>
    </dgm:pt>
    <dgm:pt modelId="{55B8346A-4204-4522-A90A-72E701D42CBA}">
      <dgm:prSet phldrT="[Текст]" custT="1"/>
      <dgm:spPr/>
      <dgm:t>
        <a:bodyPr/>
        <a:lstStyle/>
        <a:p>
          <a:r>
            <a:rPr lang="ru-RU" sz="1600" dirty="0" smtClean="0"/>
            <a:t>«Музыка в жизни, жизнь в музыке- как это услышать?»</a:t>
          </a:r>
          <a:endParaRPr lang="ru-RU" sz="1600" dirty="0"/>
        </a:p>
      </dgm:t>
    </dgm:pt>
    <dgm:pt modelId="{EF0F56AF-428D-45BC-8E8D-D394032873CA}" type="parTrans" cxnId="{E7435A4E-00B4-4AFA-AD98-AAB6417EA3C5}">
      <dgm:prSet/>
      <dgm:spPr/>
      <dgm:t>
        <a:bodyPr/>
        <a:lstStyle/>
        <a:p>
          <a:endParaRPr lang="ru-RU"/>
        </a:p>
      </dgm:t>
    </dgm:pt>
    <dgm:pt modelId="{F5712CC6-259E-45E9-9438-00D9F29713B1}" type="sibTrans" cxnId="{E7435A4E-00B4-4AFA-AD98-AAB6417EA3C5}">
      <dgm:prSet/>
      <dgm:spPr/>
      <dgm:t>
        <a:bodyPr/>
        <a:lstStyle/>
        <a:p>
          <a:endParaRPr lang="ru-RU"/>
        </a:p>
      </dgm:t>
    </dgm:pt>
    <dgm:pt modelId="{421A7204-CC32-44B5-B475-5C3AB5AB11C2}">
      <dgm:prSet phldrT="[Текст]" custT="1"/>
      <dgm:spPr/>
      <dgm:t>
        <a:bodyPr/>
        <a:lstStyle/>
        <a:p>
          <a:r>
            <a:rPr lang="ru-RU" sz="1600" dirty="0" smtClean="0"/>
            <a:t>«Каждая встреча с музыкой- повод к размышлениям о жизни»</a:t>
          </a:r>
          <a:endParaRPr lang="ru-RU" sz="1600" dirty="0"/>
        </a:p>
      </dgm:t>
    </dgm:pt>
    <dgm:pt modelId="{30427C9E-7976-4F18-A0E1-391C5269AB8A}" type="parTrans" cxnId="{DC1BC3C8-4BC0-4016-8B3C-5FE3E4145117}">
      <dgm:prSet/>
      <dgm:spPr/>
      <dgm:t>
        <a:bodyPr/>
        <a:lstStyle/>
        <a:p>
          <a:endParaRPr lang="ru-RU"/>
        </a:p>
      </dgm:t>
    </dgm:pt>
    <dgm:pt modelId="{502D663F-0234-4316-AB96-E76FA3162D95}" type="sibTrans" cxnId="{DC1BC3C8-4BC0-4016-8B3C-5FE3E4145117}">
      <dgm:prSet/>
      <dgm:spPr/>
      <dgm:t>
        <a:bodyPr/>
        <a:lstStyle/>
        <a:p>
          <a:endParaRPr lang="ru-RU"/>
        </a:p>
      </dgm:t>
    </dgm:pt>
    <dgm:pt modelId="{9DCFC8A0-90CF-46E1-A875-6D71A7D3BB95}" type="pres">
      <dgm:prSet presAssocID="{9C8B529D-F5F2-4623-BA6D-F897B0E3345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527C411-3AF4-40C9-A8F2-2C422E9652D3}" type="pres">
      <dgm:prSet presAssocID="{D4944B54-57B2-4381-B572-7537C6340EC1}" presName="hierRoot1" presStyleCnt="0"/>
      <dgm:spPr/>
    </dgm:pt>
    <dgm:pt modelId="{5F1B4D84-373A-496A-BCC4-C2C8E2027AB9}" type="pres">
      <dgm:prSet presAssocID="{D4944B54-57B2-4381-B572-7537C6340EC1}" presName="composite" presStyleCnt="0"/>
      <dgm:spPr/>
    </dgm:pt>
    <dgm:pt modelId="{78A270D7-6335-4B4D-964B-F7586B3A68A9}" type="pres">
      <dgm:prSet presAssocID="{D4944B54-57B2-4381-B572-7537C6340EC1}" presName="background" presStyleLbl="node0" presStyleIdx="0" presStyleCnt="1"/>
      <dgm:spPr/>
    </dgm:pt>
    <dgm:pt modelId="{52F78D11-ECD2-4A08-83B3-3587D77666AC}" type="pres">
      <dgm:prSet presAssocID="{D4944B54-57B2-4381-B572-7537C6340EC1}" presName="text" presStyleLbl="fgAcc0" presStyleIdx="0" presStyleCnt="1" custScaleX="19265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8A00388-AF94-45C7-970F-E7930D7336F9}" type="pres">
      <dgm:prSet presAssocID="{D4944B54-57B2-4381-B572-7537C6340EC1}" presName="hierChild2" presStyleCnt="0"/>
      <dgm:spPr/>
    </dgm:pt>
    <dgm:pt modelId="{069C66D8-93EC-46D4-ABD1-5FA1AC41CB48}" type="pres">
      <dgm:prSet presAssocID="{EF0F56AF-428D-45BC-8E8D-D394032873CA}" presName="Name10" presStyleLbl="parChTrans1D2" presStyleIdx="0" presStyleCnt="2"/>
      <dgm:spPr/>
      <dgm:t>
        <a:bodyPr/>
        <a:lstStyle/>
        <a:p>
          <a:endParaRPr lang="ru-RU"/>
        </a:p>
      </dgm:t>
    </dgm:pt>
    <dgm:pt modelId="{16E396E6-2427-484C-B786-581D7196F5C2}" type="pres">
      <dgm:prSet presAssocID="{55B8346A-4204-4522-A90A-72E701D42CBA}" presName="hierRoot2" presStyleCnt="0"/>
      <dgm:spPr/>
    </dgm:pt>
    <dgm:pt modelId="{6AD31CAB-ED7F-4E51-A909-5FD82CDE112D}" type="pres">
      <dgm:prSet presAssocID="{55B8346A-4204-4522-A90A-72E701D42CBA}" presName="composite2" presStyleCnt="0"/>
      <dgm:spPr/>
    </dgm:pt>
    <dgm:pt modelId="{E06AFDC4-D4D0-4069-AA2E-D0A3289469F5}" type="pres">
      <dgm:prSet presAssocID="{55B8346A-4204-4522-A90A-72E701D42CBA}" presName="background2" presStyleLbl="node2" presStyleIdx="0" presStyleCnt="2"/>
      <dgm:spPr/>
    </dgm:pt>
    <dgm:pt modelId="{2ADB7EA4-8B76-45BD-B1AB-CFFB4DF0D5DD}" type="pres">
      <dgm:prSet presAssocID="{55B8346A-4204-4522-A90A-72E701D42CBA}" presName="text2" presStyleLbl="fgAcc2" presStyleIdx="0" presStyleCnt="2" custScaleX="16841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078AD63-8DF7-4588-8A9C-9B076613C000}" type="pres">
      <dgm:prSet presAssocID="{55B8346A-4204-4522-A90A-72E701D42CBA}" presName="hierChild3" presStyleCnt="0"/>
      <dgm:spPr/>
    </dgm:pt>
    <dgm:pt modelId="{96DBD01F-072E-40E4-97BF-DFD38284D86C}" type="pres">
      <dgm:prSet presAssocID="{30427C9E-7976-4F18-A0E1-391C5269AB8A}" presName="Name10" presStyleLbl="parChTrans1D2" presStyleIdx="1" presStyleCnt="2"/>
      <dgm:spPr/>
      <dgm:t>
        <a:bodyPr/>
        <a:lstStyle/>
        <a:p>
          <a:endParaRPr lang="ru-RU"/>
        </a:p>
      </dgm:t>
    </dgm:pt>
    <dgm:pt modelId="{288F01C5-CE00-4534-8279-57C168A3A5CA}" type="pres">
      <dgm:prSet presAssocID="{421A7204-CC32-44B5-B475-5C3AB5AB11C2}" presName="hierRoot2" presStyleCnt="0"/>
      <dgm:spPr/>
    </dgm:pt>
    <dgm:pt modelId="{0CD48080-FE54-4216-A97A-AD351F117746}" type="pres">
      <dgm:prSet presAssocID="{421A7204-CC32-44B5-B475-5C3AB5AB11C2}" presName="composite2" presStyleCnt="0"/>
      <dgm:spPr/>
    </dgm:pt>
    <dgm:pt modelId="{141A5FE0-E875-4DC8-8C88-34959053D022}" type="pres">
      <dgm:prSet presAssocID="{421A7204-CC32-44B5-B475-5C3AB5AB11C2}" presName="background2" presStyleLbl="node2" presStyleIdx="1" presStyleCnt="2"/>
      <dgm:spPr/>
    </dgm:pt>
    <dgm:pt modelId="{33641C55-8E62-4098-8F40-5EF3D0A7A66D}" type="pres">
      <dgm:prSet presAssocID="{421A7204-CC32-44B5-B475-5C3AB5AB11C2}" presName="text2" presStyleLbl="fgAcc2" presStyleIdx="1" presStyleCnt="2" custScaleX="17455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D84BB7E-08F0-4289-B864-84B3186FC248}" type="pres">
      <dgm:prSet presAssocID="{421A7204-CC32-44B5-B475-5C3AB5AB11C2}" presName="hierChild3" presStyleCnt="0"/>
      <dgm:spPr/>
    </dgm:pt>
  </dgm:ptLst>
  <dgm:cxnLst>
    <dgm:cxn modelId="{F32984C4-45EC-4BFE-9B3B-37B5BDAA78B8}" type="presOf" srcId="{55B8346A-4204-4522-A90A-72E701D42CBA}" destId="{2ADB7EA4-8B76-45BD-B1AB-CFFB4DF0D5DD}" srcOrd="0" destOrd="0" presId="urn:microsoft.com/office/officeart/2005/8/layout/hierarchy1"/>
    <dgm:cxn modelId="{F8668655-DE1D-498E-B98A-0FB0A63BF12D}" srcId="{9C8B529D-F5F2-4623-BA6D-F897B0E33455}" destId="{D4944B54-57B2-4381-B572-7537C6340EC1}" srcOrd="0" destOrd="0" parTransId="{7172DD72-BC61-46A3-AEA7-65C39425A293}" sibTransId="{AED5C408-92FA-4B90-93BE-98E13596B2BE}"/>
    <dgm:cxn modelId="{F7CEC254-58DF-49BD-869A-0ABE16A83E1D}" type="presOf" srcId="{D4944B54-57B2-4381-B572-7537C6340EC1}" destId="{52F78D11-ECD2-4A08-83B3-3587D77666AC}" srcOrd="0" destOrd="0" presId="urn:microsoft.com/office/officeart/2005/8/layout/hierarchy1"/>
    <dgm:cxn modelId="{DC1BC3C8-4BC0-4016-8B3C-5FE3E4145117}" srcId="{D4944B54-57B2-4381-B572-7537C6340EC1}" destId="{421A7204-CC32-44B5-B475-5C3AB5AB11C2}" srcOrd="1" destOrd="0" parTransId="{30427C9E-7976-4F18-A0E1-391C5269AB8A}" sibTransId="{502D663F-0234-4316-AB96-E76FA3162D95}"/>
    <dgm:cxn modelId="{D00ED2BD-72CF-4D01-878D-260D2785C0F2}" type="presOf" srcId="{30427C9E-7976-4F18-A0E1-391C5269AB8A}" destId="{96DBD01F-072E-40E4-97BF-DFD38284D86C}" srcOrd="0" destOrd="0" presId="urn:microsoft.com/office/officeart/2005/8/layout/hierarchy1"/>
    <dgm:cxn modelId="{905B281C-63EC-417C-A10C-47A5914E4D69}" type="presOf" srcId="{421A7204-CC32-44B5-B475-5C3AB5AB11C2}" destId="{33641C55-8E62-4098-8F40-5EF3D0A7A66D}" srcOrd="0" destOrd="0" presId="urn:microsoft.com/office/officeart/2005/8/layout/hierarchy1"/>
    <dgm:cxn modelId="{09DD2D22-8D89-4133-ACD2-B059EF6F5714}" type="presOf" srcId="{EF0F56AF-428D-45BC-8E8D-D394032873CA}" destId="{069C66D8-93EC-46D4-ABD1-5FA1AC41CB48}" srcOrd="0" destOrd="0" presId="urn:microsoft.com/office/officeart/2005/8/layout/hierarchy1"/>
    <dgm:cxn modelId="{2DA4E33D-FDE3-4A66-87AE-FA6EFF25CD66}" type="presOf" srcId="{9C8B529D-F5F2-4623-BA6D-F897B0E33455}" destId="{9DCFC8A0-90CF-46E1-A875-6D71A7D3BB95}" srcOrd="0" destOrd="0" presId="urn:microsoft.com/office/officeart/2005/8/layout/hierarchy1"/>
    <dgm:cxn modelId="{E7435A4E-00B4-4AFA-AD98-AAB6417EA3C5}" srcId="{D4944B54-57B2-4381-B572-7537C6340EC1}" destId="{55B8346A-4204-4522-A90A-72E701D42CBA}" srcOrd="0" destOrd="0" parTransId="{EF0F56AF-428D-45BC-8E8D-D394032873CA}" sibTransId="{F5712CC6-259E-45E9-9438-00D9F29713B1}"/>
    <dgm:cxn modelId="{761DDC58-E8E2-4D59-A907-CFF60EFA50BD}" type="presParOf" srcId="{9DCFC8A0-90CF-46E1-A875-6D71A7D3BB95}" destId="{3527C411-3AF4-40C9-A8F2-2C422E9652D3}" srcOrd="0" destOrd="0" presId="urn:microsoft.com/office/officeart/2005/8/layout/hierarchy1"/>
    <dgm:cxn modelId="{7E3199B4-DA3D-40DF-949A-82CC00001359}" type="presParOf" srcId="{3527C411-3AF4-40C9-A8F2-2C422E9652D3}" destId="{5F1B4D84-373A-496A-BCC4-C2C8E2027AB9}" srcOrd="0" destOrd="0" presId="urn:microsoft.com/office/officeart/2005/8/layout/hierarchy1"/>
    <dgm:cxn modelId="{C78D9102-237B-4457-A8E9-1600817AF4DA}" type="presParOf" srcId="{5F1B4D84-373A-496A-BCC4-C2C8E2027AB9}" destId="{78A270D7-6335-4B4D-964B-F7586B3A68A9}" srcOrd="0" destOrd="0" presId="urn:microsoft.com/office/officeart/2005/8/layout/hierarchy1"/>
    <dgm:cxn modelId="{3A6E1F5D-8F77-4D22-A9BF-07B57D3DBA2C}" type="presParOf" srcId="{5F1B4D84-373A-496A-BCC4-C2C8E2027AB9}" destId="{52F78D11-ECD2-4A08-83B3-3587D77666AC}" srcOrd="1" destOrd="0" presId="urn:microsoft.com/office/officeart/2005/8/layout/hierarchy1"/>
    <dgm:cxn modelId="{A3A52B00-ED23-4809-B988-56004BCFB3E4}" type="presParOf" srcId="{3527C411-3AF4-40C9-A8F2-2C422E9652D3}" destId="{28A00388-AF94-45C7-970F-E7930D7336F9}" srcOrd="1" destOrd="0" presId="urn:microsoft.com/office/officeart/2005/8/layout/hierarchy1"/>
    <dgm:cxn modelId="{15CBB496-7B33-4B09-A6B5-597520DA63E7}" type="presParOf" srcId="{28A00388-AF94-45C7-970F-E7930D7336F9}" destId="{069C66D8-93EC-46D4-ABD1-5FA1AC41CB48}" srcOrd="0" destOrd="0" presId="urn:microsoft.com/office/officeart/2005/8/layout/hierarchy1"/>
    <dgm:cxn modelId="{F5785BA9-29A7-4B71-BB3F-D8C9372205DF}" type="presParOf" srcId="{28A00388-AF94-45C7-970F-E7930D7336F9}" destId="{16E396E6-2427-484C-B786-581D7196F5C2}" srcOrd="1" destOrd="0" presId="urn:microsoft.com/office/officeart/2005/8/layout/hierarchy1"/>
    <dgm:cxn modelId="{93A38EAC-5702-4A19-B658-3815C8299582}" type="presParOf" srcId="{16E396E6-2427-484C-B786-581D7196F5C2}" destId="{6AD31CAB-ED7F-4E51-A909-5FD82CDE112D}" srcOrd="0" destOrd="0" presId="urn:microsoft.com/office/officeart/2005/8/layout/hierarchy1"/>
    <dgm:cxn modelId="{1C0AA311-A3BF-4306-BB02-C37E4C4D4E11}" type="presParOf" srcId="{6AD31CAB-ED7F-4E51-A909-5FD82CDE112D}" destId="{E06AFDC4-D4D0-4069-AA2E-D0A3289469F5}" srcOrd="0" destOrd="0" presId="urn:microsoft.com/office/officeart/2005/8/layout/hierarchy1"/>
    <dgm:cxn modelId="{C543A281-A352-4143-9A56-89B77AF2A13F}" type="presParOf" srcId="{6AD31CAB-ED7F-4E51-A909-5FD82CDE112D}" destId="{2ADB7EA4-8B76-45BD-B1AB-CFFB4DF0D5DD}" srcOrd="1" destOrd="0" presId="urn:microsoft.com/office/officeart/2005/8/layout/hierarchy1"/>
    <dgm:cxn modelId="{E50219E8-593A-42C3-B6D2-74D52F685D6B}" type="presParOf" srcId="{16E396E6-2427-484C-B786-581D7196F5C2}" destId="{4078AD63-8DF7-4588-8A9C-9B076613C000}" srcOrd="1" destOrd="0" presId="urn:microsoft.com/office/officeart/2005/8/layout/hierarchy1"/>
    <dgm:cxn modelId="{532716CB-39F0-48C5-BC21-4006333AF7C8}" type="presParOf" srcId="{28A00388-AF94-45C7-970F-E7930D7336F9}" destId="{96DBD01F-072E-40E4-97BF-DFD38284D86C}" srcOrd="2" destOrd="0" presId="urn:microsoft.com/office/officeart/2005/8/layout/hierarchy1"/>
    <dgm:cxn modelId="{4CAD2C4C-67DB-4B43-9137-3EE56B221482}" type="presParOf" srcId="{28A00388-AF94-45C7-970F-E7930D7336F9}" destId="{288F01C5-CE00-4534-8279-57C168A3A5CA}" srcOrd="3" destOrd="0" presId="urn:microsoft.com/office/officeart/2005/8/layout/hierarchy1"/>
    <dgm:cxn modelId="{0B536DC2-62FF-440E-837C-5B3398208E37}" type="presParOf" srcId="{288F01C5-CE00-4534-8279-57C168A3A5CA}" destId="{0CD48080-FE54-4216-A97A-AD351F117746}" srcOrd="0" destOrd="0" presId="urn:microsoft.com/office/officeart/2005/8/layout/hierarchy1"/>
    <dgm:cxn modelId="{7410A9A8-DAE9-4753-97CA-09252324F456}" type="presParOf" srcId="{0CD48080-FE54-4216-A97A-AD351F117746}" destId="{141A5FE0-E875-4DC8-8C88-34959053D022}" srcOrd="0" destOrd="0" presId="urn:microsoft.com/office/officeart/2005/8/layout/hierarchy1"/>
    <dgm:cxn modelId="{4FA41339-7E4F-49FB-96A7-D99DA2B3F9A1}" type="presParOf" srcId="{0CD48080-FE54-4216-A97A-AD351F117746}" destId="{33641C55-8E62-4098-8F40-5EF3D0A7A66D}" srcOrd="1" destOrd="0" presId="urn:microsoft.com/office/officeart/2005/8/layout/hierarchy1"/>
    <dgm:cxn modelId="{47A3287D-9A29-4D70-84A0-D82FF0803158}" type="presParOf" srcId="{288F01C5-CE00-4534-8279-57C168A3A5CA}" destId="{7D84BB7E-08F0-4289-B864-84B3186FC24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4BB71CA-490F-41FA-AD92-4617491BEA70}" type="doc">
      <dgm:prSet loTypeId="urn:microsoft.com/office/officeart/2005/8/layout/hierarchy2" loCatId="hierarchy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15E86C15-F284-4C31-B4CE-D085BED06AF7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bg1"/>
              </a:solidFill>
            </a:rPr>
            <a:t>метод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bg1"/>
              </a:solidFill>
            </a:rPr>
            <a:t>«шаг за шагом» </a:t>
          </a: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dirty="0"/>
        </a:p>
      </dgm:t>
    </dgm:pt>
    <dgm:pt modelId="{23E2EEB4-2380-4552-8186-BF7F207BEA61}" type="parTrans" cxnId="{7E115C6D-7C3B-4AB7-B32B-E0AB3C7BD1AD}">
      <dgm:prSet/>
      <dgm:spPr/>
      <dgm:t>
        <a:bodyPr/>
        <a:lstStyle/>
        <a:p>
          <a:endParaRPr lang="ru-RU"/>
        </a:p>
      </dgm:t>
    </dgm:pt>
    <dgm:pt modelId="{A72D9CB0-965F-4A87-8B2C-D6B31D076DE0}" type="sibTrans" cxnId="{7E115C6D-7C3B-4AB7-B32B-E0AB3C7BD1AD}">
      <dgm:prSet/>
      <dgm:spPr/>
      <dgm:t>
        <a:bodyPr/>
        <a:lstStyle/>
        <a:p>
          <a:endParaRPr lang="ru-RU"/>
        </a:p>
      </dgm:t>
    </dgm:pt>
    <dgm:pt modelId="{5F482BAF-61D0-43A5-9CF1-25B9602CCE2C}">
      <dgm:prSet phldrT="[Текст]" custT="1"/>
      <dgm:spPr/>
      <dgm:t>
        <a:bodyPr/>
        <a:lstStyle/>
        <a:p>
          <a:r>
            <a:rPr lang="ru-RU" sz="1400" b="1" dirty="0" smtClean="0"/>
            <a:t>Многократный повторения тем на разных этапах, в разных классах на более обогащенном смысловом уровне</a:t>
          </a:r>
          <a:endParaRPr lang="ru-RU" sz="1400" b="1" dirty="0"/>
        </a:p>
      </dgm:t>
    </dgm:pt>
    <dgm:pt modelId="{E0D6DF0C-54EB-4E6F-9BD8-87F5F4C8CA24}" type="parTrans" cxnId="{80E65E99-3F90-4071-BC76-13C5D6A862A4}">
      <dgm:prSet/>
      <dgm:spPr>
        <a:ln>
          <a:noFill/>
        </a:ln>
      </dgm:spPr>
      <dgm:t>
        <a:bodyPr/>
        <a:lstStyle/>
        <a:p>
          <a:endParaRPr lang="ru-RU"/>
        </a:p>
      </dgm:t>
    </dgm:pt>
    <dgm:pt modelId="{EB9F29A9-F6A2-4C0E-9E8D-FBD57D564591}" type="sibTrans" cxnId="{80E65E99-3F90-4071-BC76-13C5D6A862A4}">
      <dgm:prSet/>
      <dgm:spPr/>
      <dgm:t>
        <a:bodyPr/>
        <a:lstStyle/>
        <a:p>
          <a:endParaRPr lang="ru-RU"/>
        </a:p>
      </dgm:t>
    </dgm:pt>
    <dgm:pt modelId="{ABA7CDFE-57FC-4919-BEF4-9C50E60ED1A3}">
      <dgm:prSet phldrT="[Текст]" custT="1"/>
      <dgm:spPr/>
      <dgm:t>
        <a:bodyPr/>
        <a:lstStyle/>
        <a:p>
          <a:r>
            <a:rPr lang="ru-RU" sz="1800" b="1" dirty="0" smtClean="0"/>
            <a:t>сквозное</a:t>
          </a:r>
        </a:p>
        <a:p>
          <a:r>
            <a:rPr lang="ru-RU" sz="1800" b="1" dirty="0" smtClean="0"/>
            <a:t> развитие</a:t>
          </a:r>
          <a:endParaRPr lang="ru-RU" sz="1800" b="1" dirty="0"/>
        </a:p>
      </dgm:t>
    </dgm:pt>
    <dgm:pt modelId="{EFF16514-19AE-480F-91F1-2FF3F8B782BD}" type="parTrans" cxnId="{C676186C-288A-4D08-9E74-47501FAD2322}">
      <dgm:prSet/>
      <dgm:spPr/>
      <dgm:t>
        <a:bodyPr/>
        <a:lstStyle/>
        <a:p>
          <a:endParaRPr lang="ru-RU"/>
        </a:p>
      </dgm:t>
    </dgm:pt>
    <dgm:pt modelId="{6DAD43DD-C4DA-4387-95E6-6C8B59A99F9A}" type="sibTrans" cxnId="{C676186C-288A-4D08-9E74-47501FAD2322}">
      <dgm:prSet/>
      <dgm:spPr/>
      <dgm:t>
        <a:bodyPr/>
        <a:lstStyle/>
        <a:p>
          <a:endParaRPr lang="ru-RU"/>
        </a:p>
      </dgm:t>
    </dgm:pt>
    <dgm:pt modelId="{3D6D5B0D-4213-4CA8-8A44-A94948B503E5}">
      <dgm:prSet phldrT="[Текст]" custT="1"/>
      <dgm:spPr/>
      <dgm:t>
        <a:bodyPr/>
        <a:lstStyle/>
        <a:p>
          <a:r>
            <a:rPr lang="ru-RU" sz="1600" dirty="0" smtClean="0"/>
            <a:t>Непрерывное развитие тем внутри каждого класса </a:t>
          </a:r>
          <a:endParaRPr lang="ru-RU" sz="1600" dirty="0"/>
        </a:p>
      </dgm:t>
    </dgm:pt>
    <dgm:pt modelId="{A126F2BC-3CAE-46DD-90B3-7CFD8ACAAD60}" type="parTrans" cxnId="{E6AA6CBF-5705-41A3-B1E7-160BE495FC17}">
      <dgm:prSet/>
      <dgm:spPr/>
      <dgm:t>
        <a:bodyPr/>
        <a:lstStyle/>
        <a:p>
          <a:endParaRPr lang="ru-RU"/>
        </a:p>
      </dgm:t>
    </dgm:pt>
    <dgm:pt modelId="{B249125E-7916-49FF-AB8A-08C855F2E473}" type="sibTrans" cxnId="{E6AA6CBF-5705-41A3-B1E7-160BE495FC17}">
      <dgm:prSet/>
      <dgm:spPr/>
      <dgm:t>
        <a:bodyPr/>
        <a:lstStyle/>
        <a:p>
          <a:endParaRPr lang="ru-RU"/>
        </a:p>
      </dgm:t>
    </dgm:pt>
    <dgm:pt modelId="{26538E50-DD73-4E08-9CE3-B928E07F5769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Курс имеет трехуровневую иерархическую структуру</a:t>
          </a: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dirty="0"/>
        </a:p>
      </dgm:t>
    </dgm:pt>
    <dgm:pt modelId="{A5D05994-5E06-49E2-9E22-535E03EE4EDD}" type="sibTrans" cxnId="{CEE80E5E-5AD5-46F6-953E-DAAFC2836EF0}">
      <dgm:prSet/>
      <dgm:spPr/>
      <dgm:t>
        <a:bodyPr/>
        <a:lstStyle/>
        <a:p>
          <a:endParaRPr lang="ru-RU"/>
        </a:p>
      </dgm:t>
    </dgm:pt>
    <dgm:pt modelId="{C9583F9B-7C38-4BD1-BFA3-4DD0429DCCF3}" type="parTrans" cxnId="{CEE80E5E-5AD5-46F6-953E-DAAFC2836EF0}">
      <dgm:prSet/>
      <dgm:spPr/>
      <dgm:t>
        <a:bodyPr/>
        <a:lstStyle/>
        <a:p>
          <a:endParaRPr lang="ru-RU"/>
        </a:p>
      </dgm:t>
    </dgm:pt>
    <dgm:pt modelId="{53634B61-ACAD-49E3-B239-28E1EF5F5A9D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принцип систематичности и последовательности</a:t>
          </a: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dirty="0"/>
        </a:p>
      </dgm:t>
    </dgm:pt>
    <dgm:pt modelId="{B83CF72B-86B0-4BA8-8679-D9745AC3106F}" type="sibTrans" cxnId="{1528E90B-EA86-47EB-AF5F-8C084728C231}">
      <dgm:prSet/>
      <dgm:spPr/>
      <dgm:t>
        <a:bodyPr/>
        <a:lstStyle/>
        <a:p>
          <a:endParaRPr lang="ru-RU"/>
        </a:p>
      </dgm:t>
    </dgm:pt>
    <dgm:pt modelId="{805CD7A1-D419-431A-80AD-9E3A5E73231B}" type="parTrans" cxnId="{1528E90B-EA86-47EB-AF5F-8C084728C231}">
      <dgm:prSet/>
      <dgm:spPr/>
      <dgm:t>
        <a:bodyPr/>
        <a:lstStyle/>
        <a:p>
          <a:endParaRPr lang="ru-RU"/>
        </a:p>
      </dgm:t>
    </dgm:pt>
    <dgm:pt modelId="{B22F677E-834F-4B53-863A-0FC5C4534CCD}">
      <dgm:prSet custT="1"/>
      <dgm:spPr/>
      <dgm:t>
        <a:bodyPr/>
        <a:lstStyle/>
        <a:p>
          <a:r>
            <a:rPr lang="ru-RU" sz="1800" b="1" dirty="0" smtClean="0"/>
            <a:t>«развития по спирали»</a:t>
          </a:r>
          <a:endParaRPr lang="ru-RU" sz="1800" b="1" dirty="0"/>
        </a:p>
      </dgm:t>
    </dgm:pt>
    <dgm:pt modelId="{8B395798-DB33-44B1-ADDC-F28DB4F728C5}" type="parTrans" cxnId="{3FFFD5FB-9A58-4925-B3F7-59886290BBAA}">
      <dgm:prSet/>
      <dgm:spPr/>
      <dgm:t>
        <a:bodyPr/>
        <a:lstStyle/>
        <a:p>
          <a:endParaRPr lang="ru-RU"/>
        </a:p>
      </dgm:t>
    </dgm:pt>
    <dgm:pt modelId="{C4DF29C1-1F21-4730-B112-153BAAF4CB7B}" type="sibTrans" cxnId="{3FFFD5FB-9A58-4925-B3F7-59886290BBAA}">
      <dgm:prSet/>
      <dgm:spPr/>
      <dgm:t>
        <a:bodyPr/>
        <a:lstStyle/>
        <a:p>
          <a:endParaRPr lang="ru-RU"/>
        </a:p>
      </dgm:t>
    </dgm:pt>
    <dgm:pt modelId="{4D6172A3-9172-4B73-AD90-4DCEA66E4457}" type="pres">
      <dgm:prSet presAssocID="{34BB71CA-490F-41FA-AD92-4617491BEA70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B3CA39F-525C-4901-99EE-8B3E955F534D}" type="pres">
      <dgm:prSet presAssocID="{26538E50-DD73-4E08-9CE3-B928E07F5769}" presName="root1" presStyleCnt="0"/>
      <dgm:spPr/>
    </dgm:pt>
    <dgm:pt modelId="{C1A34D99-8436-4665-9146-03205B1871CD}" type="pres">
      <dgm:prSet presAssocID="{26538E50-DD73-4E08-9CE3-B928E07F5769}" presName="LevelOneTextNode" presStyleLbl="node0" presStyleIdx="0" presStyleCnt="1" custScaleY="139928" custLinFactNeighborX="-208" custLinFactNeighborY="-3264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1C51E22-BB2B-4735-AF4E-825E30145ACF}" type="pres">
      <dgm:prSet presAssocID="{26538E50-DD73-4E08-9CE3-B928E07F5769}" presName="level2hierChild" presStyleCnt="0"/>
      <dgm:spPr/>
    </dgm:pt>
    <dgm:pt modelId="{0A79C70E-0007-45C7-B808-3D16CEF3006D}" type="pres">
      <dgm:prSet presAssocID="{805CD7A1-D419-431A-80AD-9E3A5E73231B}" presName="conn2-1" presStyleLbl="parChTrans1D2" presStyleIdx="0" presStyleCnt="3"/>
      <dgm:spPr/>
      <dgm:t>
        <a:bodyPr/>
        <a:lstStyle/>
        <a:p>
          <a:endParaRPr lang="ru-RU"/>
        </a:p>
      </dgm:t>
    </dgm:pt>
    <dgm:pt modelId="{F525E41E-A002-4317-B1F0-EA6F4AB008D6}" type="pres">
      <dgm:prSet presAssocID="{805CD7A1-D419-431A-80AD-9E3A5E73231B}" presName="connTx" presStyleLbl="parChTrans1D2" presStyleIdx="0" presStyleCnt="3"/>
      <dgm:spPr/>
      <dgm:t>
        <a:bodyPr/>
        <a:lstStyle/>
        <a:p>
          <a:endParaRPr lang="ru-RU"/>
        </a:p>
      </dgm:t>
    </dgm:pt>
    <dgm:pt modelId="{B9EBF34B-E41F-45C8-A8C3-645DEA426498}" type="pres">
      <dgm:prSet presAssocID="{53634B61-ACAD-49E3-B239-28E1EF5F5A9D}" presName="root2" presStyleCnt="0"/>
      <dgm:spPr/>
    </dgm:pt>
    <dgm:pt modelId="{44828E09-6EDA-4DE8-9E6C-55B07436D36B}" type="pres">
      <dgm:prSet presAssocID="{53634B61-ACAD-49E3-B239-28E1EF5F5A9D}" presName="LevelTwoTextNode" presStyleLbl="node2" presStyleIdx="0" presStyleCnt="3" custScaleX="117879" custLinFactY="-6420" custLinFactNeighborX="-24177" custLinFactNeighborY="-1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104D357-FE7D-4D4D-BFB4-F9743CD43C2D}" type="pres">
      <dgm:prSet presAssocID="{53634B61-ACAD-49E3-B239-28E1EF5F5A9D}" presName="level3hierChild" presStyleCnt="0"/>
      <dgm:spPr/>
    </dgm:pt>
    <dgm:pt modelId="{975ED240-F8FA-4C62-8E70-32BBD80E9807}" type="pres">
      <dgm:prSet presAssocID="{23E2EEB4-2380-4552-8186-BF7F207BEA61}" presName="conn2-1" presStyleLbl="parChTrans1D3" presStyleIdx="0" presStyleCnt="3"/>
      <dgm:spPr/>
      <dgm:t>
        <a:bodyPr/>
        <a:lstStyle/>
        <a:p>
          <a:endParaRPr lang="ru-RU"/>
        </a:p>
      </dgm:t>
    </dgm:pt>
    <dgm:pt modelId="{10D28B59-85EC-4238-BBFB-F3FBC417D391}" type="pres">
      <dgm:prSet presAssocID="{23E2EEB4-2380-4552-8186-BF7F207BEA61}" presName="connTx" presStyleLbl="parChTrans1D3" presStyleIdx="0" presStyleCnt="3"/>
      <dgm:spPr/>
      <dgm:t>
        <a:bodyPr/>
        <a:lstStyle/>
        <a:p>
          <a:endParaRPr lang="ru-RU"/>
        </a:p>
      </dgm:t>
    </dgm:pt>
    <dgm:pt modelId="{83DF99A1-A139-4186-8ACE-DF39190CC57C}" type="pres">
      <dgm:prSet presAssocID="{15E86C15-F284-4C31-B4CE-D085BED06AF7}" presName="root2" presStyleCnt="0"/>
      <dgm:spPr/>
    </dgm:pt>
    <dgm:pt modelId="{27CF5632-87DE-4A11-8832-6A2A2A313A8C}" type="pres">
      <dgm:prSet presAssocID="{15E86C15-F284-4C31-B4CE-D085BED06AF7}" presName="LevelTwoTextNode" presStyleLbl="node3" presStyleIdx="0" presStyleCnt="3" custLinFactNeighborX="4343" custLinFactNeighborY="-489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48CE25D-AD7F-4732-ABA8-78DC5B031068}" type="pres">
      <dgm:prSet presAssocID="{15E86C15-F284-4C31-B4CE-D085BED06AF7}" presName="level3hierChild" presStyleCnt="0"/>
      <dgm:spPr/>
    </dgm:pt>
    <dgm:pt modelId="{26E66A2D-277C-4833-8FCA-0375D9E44D63}" type="pres">
      <dgm:prSet presAssocID="{E0D6DF0C-54EB-4E6F-9BD8-87F5F4C8CA24}" presName="conn2-1" presStyleLbl="parChTrans1D3" presStyleIdx="1" presStyleCnt="3"/>
      <dgm:spPr/>
      <dgm:t>
        <a:bodyPr/>
        <a:lstStyle/>
        <a:p>
          <a:endParaRPr lang="ru-RU"/>
        </a:p>
      </dgm:t>
    </dgm:pt>
    <dgm:pt modelId="{B0F792AD-D779-4FE4-BBC0-B9BDD949A88F}" type="pres">
      <dgm:prSet presAssocID="{E0D6DF0C-54EB-4E6F-9BD8-87F5F4C8CA24}" presName="connTx" presStyleLbl="parChTrans1D3" presStyleIdx="1" presStyleCnt="3"/>
      <dgm:spPr/>
      <dgm:t>
        <a:bodyPr/>
        <a:lstStyle/>
        <a:p>
          <a:endParaRPr lang="ru-RU"/>
        </a:p>
      </dgm:t>
    </dgm:pt>
    <dgm:pt modelId="{5BD65714-C117-45BE-8771-00CE4779D10D}" type="pres">
      <dgm:prSet presAssocID="{5F482BAF-61D0-43A5-9CF1-25B9602CCE2C}" presName="root2" presStyleCnt="0"/>
      <dgm:spPr/>
    </dgm:pt>
    <dgm:pt modelId="{C2CBEF2F-B1C0-474A-AE7F-DC188A3C8D86}" type="pres">
      <dgm:prSet presAssocID="{5F482BAF-61D0-43A5-9CF1-25B9602CCE2C}" presName="LevelTwoTextNode" presStyleLbl="node3" presStyleIdx="1" presStyleCnt="3" custScaleX="105625" custLinFactNeighborX="-1766" custLinFactNeighborY="1471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6BF9586-0B6F-4E3D-BD98-4E518DCA186D}" type="pres">
      <dgm:prSet presAssocID="{5F482BAF-61D0-43A5-9CF1-25B9602CCE2C}" presName="level3hierChild" presStyleCnt="0"/>
      <dgm:spPr/>
    </dgm:pt>
    <dgm:pt modelId="{7A4231BA-3350-4147-9CCA-72C7CC6C52BC}" type="pres">
      <dgm:prSet presAssocID="{8B395798-DB33-44B1-ADDC-F28DB4F728C5}" presName="conn2-1" presStyleLbl="parChTrans1D2" presStyleIdx="1" presStyleCnt="3"/>
      <dgm:spPr/>
      <dgm:t>
        <a:bodyPr/>
        <a:lstStyle/>
        <a:p>
          <a:endParaRPr lang="ru-RU"/>
        </a:p>
      </dgm:t>
    </dgm:pt>
    <dgm:pt modelId="{8894727D-9F5A-4C3A-A896-8D4BC1BC95CC}" type="pres">
      <dgm:prSet presAssocID="{8B395798-DB33-44B1-ADDC-F28DB4F728C5}" presName="connTx" presStyleLbl="parChTrans1D2" presStyleIdx="1" presStyleCnt="3"/>
      <dgm:spPr/>
      <dgm:t>
        <a:bodyPr/>
        <a:lstStyle/>
        <a:p>
          <a:endParaRPr lang="ru-RU"/>
        </a:p>
      </dgm:t>
    </dgm:pt>
    <dgm:pt modelId="{D911F787-A76F-4569-938B-727FB79700C3}" type="pres">
      <dgm:prSet presAssocID="{B22F677E-834F-4B53-863A-0FC5C4534CCD}" presName="root2" presStyleCnt="0"/>
      <dgm:spPr/>
    </dgm:pt>
    <dgm:pt modelId="{B9B72AC7-87CB-4BC1-BF4C-C8B3DCF934A3}" type="pres">
      <dgm:prSet presAssocID="{B22F677E-834F-4B53-863A-0FC5C4534CCD}" presName="LevelTwoTextNode" presStyleLbl="node2" presStyleIdx="1" presStyleCnt="3" custScaleX="98836" custLinFactNeighborX="-19129" custLinFactNeighborY="-4278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BF2BDD7-6B8D-4F20-94F8-3771FE5A74F6}" type="pres">
      <dgm:prSet presAssocID="{B22F677E-834F-4B53-863A-0FC5C4534CCD}" presName="level3hierChild" presStyleCnt="0"/>
      <dgm:spPr/>
    </dgm:pt>
    <dgm:pt modelId="{DA66B1FD-195B-4038-B733-D106CEF0005F}" type="pres">
      <dgm:prSet presAssocID="{EFF16514-19AE-480F-91F1-2FF3F8B782BD}" presName="conn2-1" presStyleLbl="parChTrans1D2" presStyleIdx="2" presStyleCnt="3"/>
      <dgm:spPr/>
      <dgm:t>
        <a:bodyPr/>
        <a:lstStyle/>
        <a:p>
          <a:endParaRPr lang="ru-RU"/>
        </a:p>
      </dgm:t>
    </dgm:pt>
    <dgm:pt modelId="{438BB123-F70F-4796-9F99-10DA009E7C2D}" type="pres">
      <dgm:prSet presAssocID="{EFF16514-19AE-480F-91F1-2FF3F8B782BD}" presName="connTx" presStyleLbl="parChTrans1D2" presStyleIdx="2" presStyleCnt="3"/>
      <dgm:spPr/>
      <dgm:t>
        <a:bodyPr/>
        <a:lstStyle/>
        <a:p>
          <a:endParaRPr lang="ru-RU"/>
        </a:p>
      </dgm:t>
    </dgm:pt>
    <dgm:pt modelId="{4015AD00-DF08-4215-81A6-7456A9E9695F}" type="pres">
      <dgm:prSet presAssocID="{ABA7CDFE-57FC-4919-BEF4-9C50E60ED1A3}" presName="root2" presStyleCnt="0"/>
      <dgm:spPr/>
    </dgm:pt>
    <dgm:pt modelId="{04D44553-23A7-4C7B-B161-15899F3D206D}" type="pres">
      <dgm:prSet presAssocID="{ABA7CDFE-57FC-4919-BEF4-9C50E60ED1A3}" presName="LevelTwoTextNode" presStyleLbl="node2" presStyleIdx="2" presStyleCnt="3" custScaleX="112182" custLinFactNeighborX="-28062" custLinFactNeighborY="2200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B40EEE2-75B1-4055-9B26-79D468C2A32C}" type="pres">
      <dgm:prSet presAssocID="{ABA7CDFE-57FC-4919-BEF4-9C50E60ED1A3}" presName="level3hierChild" presStyleCnt="0"/>
      <dgm:spPr/>
    </dgm:pt>
    <dgm:pt modelId="{A283E075-E1E5-486A-BD8C-491ADF031ED9}" type="pres">
      <dgm:prSet presAssocID="{A126F2BC-3CAE-46DD-90B3-7CFD8ACAAD60}" presName="conn2-1" presStyleLbl="parChTrans1D3" presStyleIdx="2" presStyleCnt="3"/>
      <dgm:spPr/>
      <dgm:t>
        <a:bodyPr/>
        <a:lstStyle/>
        <a:p>
          <a:endParaRPr lang="ru-RU"/>
        </a:p>
      </dgm:t>
    </dgm:pt>
    <dgm:pt modelId="{559246A5-0FEC-40C7-B518-8BB019DADC22}" type="pres">
      <dgm:prSet presAssocID="{A126F2BC-3CAE-46DD-90B3-7CFD8ACAAD60}" presName="connTx" presStyleLbl="parChTrans1D3" presStyleIdx="2" presStyleCnt="3"/>
      <dgm:spPr/>
      <dgm:t>
        <a:bodyPr/>
        <a:lstStyle/>
        <a:p>
          <a:endParaRPr lang="ru-RU"/>
        </a:p>
      </dgm:t>
    </dgm:pt>
    <dgm:pt modelId="{E4A3A0B1-35C7-44F6-86B3-0DAD9EA82E82}" type="pres">
      <dgm:prSet presAssocID="{3D6D5B0D-4213-4CA8-8A44-A94948B503E5}" presName="root2" presStyleCnt="0"/>
      <dgm:spPr/>
    </dgm:pt>
    <dgm:pt modelId="{AE2CCADC-DE01-4639-846F-2116E36789C1}" type="pres">
      <dgm:prSet presAssocID="{3D6D5B0D-4213-4CA8-8A44-A94948B503E5}" presName="LevelTwoTextNode" presStyleLbl="node3" presStyleIdx="2" presStyleCnt="3" custLinFactNeighborX="19695" custLinFactNeighborY="2200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4FCC945-397F-4EF0-AC60-5ABDB7C12CA0}" type="pres">
      <dgm:prSet presAssocID="{3D6D5B0D-4213-4CA8-8A44-A94948B503E5}" presName="level3hierChild" presStyleCnt="0"/>
      <dgm:spPr/>
    </dgm:pt>
  </dgm:ptLst>
  <dgm:cxnLst>
    <dgm:cxn modelId="{D6957431-D370-41F5-8960-2154BCC9BD56}" type="presOf" srcId="{34BB71CA-490F-41FA-AD92-4617491BEA70}" destId="{4D6172A3-9172-4B73-AD90-4DCEA66E4457}" srcOrd="0" destOrd="0" presId="urn:microsoft.com/office/officeart/2005/8/layout/hierarchy2"/>
    <dgm:cxn modelId="{6BB66B52-53F5-407D-908B-6C762528B867}" type="presOf" srcId="{EFF16514-19AE-480F-91F1-2FF3F8B782BD}" destId="{DA66B1FD-195B-4038-B733-D106CEF0005F}" srcOrd="0" destOrd="0" presId="urn:microsoft.com/office/officeart/2005/8/layout/hierarchy2"/>
    <dgm:cxn modelId="{1528E90B-EA86-47EB-AF5F-8C084728C231}" srcId="{26538E50-DD73-4E08-9CE3-B928E07F5769}" destId="{53634B61-ACAD-49E3-B239-28E1EF5F5A9D}" srcOrd="0" destOrd="0" parTransId="{805CD7A1-D419-431A-80AD-9E3A5E73231B}" sibTransId="{B83CF72B-86B0-4BA8-8679-D9745AC3106F}"/>
    <dgm:cxn modelId="{A06DC56D-3E6B-454A-ACE3-41FD71E17BF1}" type="presOf" srcId="{8B395798-DB33-44B1-ADDC-F28DB4F728C5}" destId="{7A4231BA-3350-4147-9CCA-72C7CC6C52BC}" srcOrd="0" destOrd="0" presId="urn:microsoft.com/office/officeart/2005/8/layout/hierarchy2"/>
    <dgm:cxn modelId="{E6AA6CBF-5705-41A3-B1E7-160BE495FC17}" srcId="{ABA7CDFE-57FC-4919-BEF4-9C50E60ED1A3}" destId="{3D6D5B0D-4213-4CA8-8A44-A94948B503E5}" srcOrd="0" destOrd="0" parTransId="{A126F2BC-3CAE-46DD-90B3-7CFD8ACAAD60}" sibTransId="{B249125E-7916-49FF-AB8A-08C855F2E473}"/>
    <dgm:cxn modelId="{06936308-AFC7-47E4-A9C5-7D4D1F88BA27}" type="presOf" srcId="{8B395798-DB33-44B1-ADDC-F28DB4F728C5}" destId="{8894727D-9F5A-4C3A-A896-8D4BC1BC95CC}" srcOrd="1" destOrd="0" presId="urn:microsoft.com/office/officeart/2005/8/layout/hierarchy2"/>
    <dgm:cxn modelId="{633C80A0-E379-403D-BCD6-5B50647BD149}" type="presOf" srcId="{A126F2BC-3CAE-46DD-90B3-7CFD8ACAAD60}" destId="{559246A5-0FEC-40C7-B518-8BB019DADC22}" srcOrd="1" destOrd="0" presId="urn:microsoft.com/office/officeart/2005/8/layout/hierarchy2"/>
    <dgm:cxn modelId="{7A3E8F5E-59E2-468C-99DC-4C321086CC88}" type="presOf" srcId="{E0D6DF0C-54EB-4E6F-9BD8-87F5F4C8CA24}" destId="{26E66A2D-277C-4833-8FCA-0375D9E44D63}" srcOrd="0" destOrd="0" presId="urn:microsoft.com/office/officeart/2005/8/layout/hierarchy2"/>
    <dgm:cxn modelId="{419FAB88-CC40-41EF-BC7D-D8D9401CF850}" type="presOf" srcId="{23E2EEB4-2380-4552-8186-BF7F207BEA61}" destId="{975ED240-F8FA-4C62-8E70-32BBD80E9807}" srcOrd="0" destOrd="0" presId="urn:microsoft.com/office/officeart/2005/8/layout/hierarchy2"/>
    <dgm:cxn modelId="{580B2452-3ADA-40D6-9FD7-343332B97A0A}" type="presOf" srcId="{5F482BAF-61D0-43A5-9CF1-25B9602CCE2C}" destId="{C2CBEF2F-B1C0-474A-AE7F-DC188A3C8D86}" srcOrd="0" destOrd="0" presId="urn:microsoft.com/office/officeart/2005/8/layout/hierarchy2"/>
    <dgm:cxn modelId="{80E65E99-3F90-4071-BC76-13C5D6A862A4}" srcId="{53634B61-ACAD-49E3-B239-28E1EF5F5A9D}" destId="{5F482BAF-61D0-43A5-9CF1-25B9602CCE2C}" srcOrd="1" destOrd="0" parTransId="{E0D6DF0C-54EB-4E6F-9BD8-87F5F4C8CA24}" sibTransId="{EB9F29A9-F6A2-4C0E-9E8D-FBD57D564591}"/>
    <dgm:cxn modelId="{2D256D4A-60A4-4054-9DBB-8C7344B43443}" type="presOf" srcId="{805CD7A1-D419-431A-80AD-9E3A5E73231B}" destId="{F525E41E-A002-4317-B1F0-EA6F4AB008D6}" srcOrd="1" destOrd="0" presId="urn:microsoft.com/office/officeart/2005/8/layout/hierarchy2"/>
    <dgm:cxn modelId="{25CAD2F4-3D9E-45D4-BBC8-2CE365102181}" type="presOf" srcId="{23E2EEB4-2380-4552-8186-BF7F207BEA61}" destId="{10D28B59-85EC-4238-BBFB-F3FBC417D391}" srcOrd="1" destOrd="0" presId="urn:microsoft.com/office/officeart/2005/8/layout/hierarchy2"/>
    <dgm:cxn modelId="{A817CCC1-14F2-4D4A-8F1C-64FA97C520E7}" type="presOf" srcId="{ABA7CDFE-57FC-4919-BEF4-9C50E60ED1A3}" destId="{04D44553-23A7-4C7B-B161-15899F3D206D}" srcOrd="0" destOrd="0" presId="urn:microsoft.com/office/officeart/2005/8/layout/hierarchy2"/>
    <dgm:cxn modelId="{F3ACF7E1-77C1-429D-BD6D-97E6F5829AA2}" type="presOf" srcId="{A126F2BC-3CAE-46DD-90B3-7CFD8ACAAD60}" destId="{A283E075-E1E5-486A-BD8C-491ADF031ED9}" srcOrd="0" destOrd="0" presId="urn:microsoft.com/office/officeart/2005/8/layout/hierarchy2"/>
    <dgm:cxn modelId="{35E11473-9A28-40F7-9E7B-87B2B1ADDCE5}" type="presOf" srcId="{53634B61-ACAD-49E3-B239-28E1EF5F5A9D}" destId="{44828E09-6EDA-4DE8-9E6C-55B07436D36B}" srcOrd="0" destOrd="0" presId="urn:microsoft.com/office/officeart/2005/8/layout/hierarchy2"/>
    <dgm:cxn modelId="{606B4A81-6123-4216-925B-F861AC12A4CC}" type="presOf" srcId="{15E86C15-F284-4C31-B4CE-D085BED06AF7}" destId="{27CF5632-87DE-4A11-8832-6A2A2A313A8C}" srcOrd="0" destOrd="0" presId="urn:microsoft.com/office/officeart/2005/8/layout/hierarchy2"/>
    <dgm:cxn modelId="{E3CD6A61-07E0-41EF-BF70-3AA766DCD334}" type="presOf" srcId="{B22F677E-834F-4B53-863A-0FC5C4534CCD}" destId="{B9B72AC7-87CB-4BC1-BF4C-C8B3DCF934A3}" srcOrd="0" destOrd="0" presId="urn:microsoft.com/office/officeart/2005/8/layout/hierarchy2"/>
    <dgm:cxn modelId="{19BECACD-A4C9-4683-901F-C14FB70A3534}" type="presOf" srcId="{26538E50-DD73-4E08-9CE3-B928E07F5769}" destId="{C1A34D99-8436-4665-9146-03205B1871CD}" srcOrd="0" destOrd="0" presId="urn:microsoft.com/office/officeart/2005/8/layout/hierarchy2"/>
    <dgm:cxn modelId="{DE7DBED4-13D1-4A61-A9FD-BDA9C790CF8C}" type="presOf" srcId="{3D6D5B0D-4213-4CA8-8A44-A94948B503E5}" destId="{AE2CCADC-DE01-4639-846F-2116E36789C1}" srcOrd="0" destOrd="0" presId="urn:microsoft.com/office/officeart/2005/8/layout/hierarchy2"/>
    <dgm:cxn modelId="{3FFFD5FB-9A58-4925-B3F7-59886290BBAA}" srcId="{26538E50-DD73-4E08-9CE3-B928E07F5769}" destId="{B22F677E-834F-4B53-863A-0FC5C4534CCD}" srcOrd="1" destOrd="0" parTransId="{8B395798-DB33-44B1-ADDC-F28DB4F728C5}" sibTransId="{C4DF29C1-1F21-4730-B112-153BAAF4CB7B}"/>
    <dgm:cxn modelId="{C676186C-288A-4D08-9E74-47501FAD2322}" srcId="{26538E50-DD73-4E08-9CE3-B928E07F5769}" destId="{ABA7CDFE-57FC-4919-BEF4-9C50E60ED1A3}" srcOrd="2" destOrd="0" parTransId="{EFF16514-19AE-480F-91F1-2FF3F8B782BD}" sibTransId="{6DAD43DD-C4DA-4387-95E6-6C8B59A99F9A}"/>
    <dgm:cxn modelId="{7757E81D-E84E-4AFF-A57D-5378A9864644}" type="presOf" srcId="{EFF16514-19AE-480F-91F1-2FF3F8B782BD}" destId="{438BB123-F70F-4796-9F99-10DA009E7C2D}" srcOrd="1" destOrd="0" presId="urn:microsoft.com/office/officeart/2005/8/layout/hierarchy2"/>
    <dgm:cxn modelId="{CA8266B5-4343-4821-89BF-B821C840E730}" type="presOf" srcId="{805CD7A1-D419-431A-80AD-9E3A5E73231B}" destId="{0A79C70E-0007-45C7-B808-3D16CEF3006D}" srcOrd="0" destOrd="0" presId="urn:microsoft.com/office/officeart/2005/8/layout/hierarchy2"/>
    <dgm:cxn modelId="{75CF3186-5E0C-4C48-BFDD-998F1E75C7F3}" type="presOf" srcId="{E0D6DF0C-54EB-4E6F-9BD8-87F5F4C8CA24}" destId="{B0F792AD-D779-4FE4-BBC0-B9BDD949A88F}" srcOrd="1" destOrd="0" presId="urn:microsoft.com/office/officeart/2005/8/layout/hierarchy2"/>
    <dgm:cxn modelId="{CEE80E5E-5AD5-46F6-953E-DAAFC2836EF0}" srcId="{34BB71CA-490F-41FA-AD92-4617491BEA70}" destId="{26538E50-DD73-4E08-9CE3-B928E07F5769}" srcOrd="0" destOrd="0" parTransId="{C9583F9B-7C38-4BD1-BFA3-4DD0429DCCF3}" sibTransId="{A5D05994-5E06-49E2-9E22-535E03EE4EDD}"/>
    <dgm:cxn modelId="{7E115C6D-7C3B-4AB7-B32B-E0AB3C7BD1AD}" srcId="{53634B61-ACAD-49E3-B239-28E1EF5F5A9D}" destId="{15E86C15-F284-4C31-B4CE-D085BED06AF7}" srcOrd="0" destOrd="0" parTransId="{23E2EEB4-2380-4552-8186-BF7F207BEA61}" sibTransId="{A72D9CB0-965F-4A87-8B2C-D6B31D076DE0}"/>
    <dgm:cxn modelId="{33BF13DD-C50C-430A-BC90-A232A88C65B2}" type="presParOf" srcId="{4D6172A3-9172-4B73-AD90-4DCEA66E4457}" destId="{CB3CA39F-525C-4901-99EE-8B3E955F534D}" srcOrd="0" destOrd="0" presId="urn:microsoft.com/office/officeart/2005/8/layout/hierarchy2"/>
    <dgm:cxn modelId="{828BC308-9B90-4331-9184-3A4A8D020A1E}" type="presParOf" srcId="{CB3CA39F-525C-4901-99EE-8B3E955F534D}" destId="{C1A34D99-8436-4665-9146-03205B1871CD}" srcOrd="0" destOrd="0" presId="urn:microsoft.com/office/officeart/2005/8/layout/hierarchy2"/>
    <dgm:cxn modelId="{356B6F56-D1AB-4F4F-93A0-E3B30747411C}" type="presParOf" srcId="{CB3CA39F-525C-4901-99EE-8B3E955F534D}" destId="{A1C51E22-BB2B-4735-AF4E-825E30145ACF}" srcOrd="1" destOrd="0" presId="urn:microsoft.com/office/officeart/2005/8/layout/hierarchy2"/>
    <dgm:cxn modelId="{8C343EEE-AA3C-4D8D-B62D-6C409770A382}" type="presParOf" srcId="{A1C51E22-BB2B-4735-AF4E-825E30145ACF}" destId="{0A79C70E-0007-45C7-B808-3D16CEF3006D}" srcOrd="0" destOrd="0" presId="urn:microsoft.com/office/officeart/2005/8/layout/hierarchy2"/>
    <dgm:cxn modelId="{E778CBD6-4E92-4E56-8DFA-1DBAC4049BB0}" type="presParOf" srcId="{0A79C70E-0007-45C7-B808-3D16CEF3006D}" destId="{F525E41E-A002-4317-B1F0-EA6F4AB008D6}" srcOrd="0" destOrd="0" presId="urn:microsoft.com/office/officeart/2005/8/layout/hierarchy2"/>
    <dgm:cxn modelId="{C171ABAA-FAC3-43B3-BCEE-0922BB1DBAE0}" type="presParOf" srcId="{A1C51E22-BB2B-4735-AF4E-825E30145ACF}" destId="{B9EBF34B-E41F-45C8-A8C3-645DEA426498}" srcOrd="1" destOrd="0" presId="urn:microsoft.com/office/officeart/2005/8/layout/hierarchy2"/>
    <dgm:cxn modelId="{88F929AC-38DE-498D-B3F6-5095390B53F8}" type="presParOf" srcId="{B9EBF34B-E41F-45C8-A8C3-645DEA426498}" destId="{44828E09-6EDA-4DE8-9E6C-55B07436D36B}" srcOrd="0" destOrd="0" presId="urn:microsoft.com/office/officeart/2005/8/layout/hierarchy2"/>
    <dgm:cxn modelId="{42497683-E2FC-44C0-9AED-50C50B52BCD9}" type="presParOf" srcId="{B9EBF34B-E41F-45C8-A8C3-645DEA426498}" destId="{E104D357-FE7D-4D4D-BFB4-F9743CD43C2D}" srcOrd="1" destOrd="0" presId="urn:microsoft.com/office/officeart/2005/8/layout/hierarchy2"/>
    <dgm:cxn modelId="{6F4D48F3-D507-4CEA-9B82-DBF020BB3946}" type="presParOf" srcId="{E104D357-FE7D-4D4D-BFB4-F9743CD43C2D}" destId="{975ED240-F8FA-4C62-8E70-32BBD80E9807}" srcOrd="0" destOrd="0" presId="urn:microsoft.com/office/officeart/2005/8/layout/hierarchy2"/>
    <dgm:cxn modelId="{2CE247D3-5E8C-44D6-8A51-DC68866706DD}" type="presParOf" srcId="{975ED240-F8FA-4C62-8E70-32BBD80E9807}" destId="{10D28B59-85EC-4238-BBFB-F3FBC417D391}" srcOrd="0" destOrd="0" presId="urn:microsoft.com/office/officeart/2005/8/layout/hierarchy2"/>
    <dgm:cxn modelId="{E35F2D91-F783-4DD3-97D3-57B05E4F4A33}" type="presParOf" srcId="{E104D357-FE7D-4D4D-BFB4-F9743CD43C2D}" destId="{83DF99A1-A139-4186-8ACE-DF39190CC57C}" srcOrd="1" destOrd="0" presId="urn:microsoft.com/office/officeart/2005/8/layout/hierarchy2"/>
    <dgm:cxn modelId="{DEA1C199-34CF-4625-A0E8-2C5D078A0ADA}" type="presParOf" srcId="{83DF99A1-A139-4186-8ACE-DF39190CC57C}" destId="{27CF5632-87DE-4A11-8832-6A2A2A313A8C}" srcOrd="0" destOrd="0" presId="urn:microsoft.com/office/officeart/2005/8/layout/hierarchy2"/>
    <dgm:cxn modelId="{2A47A11C-0EC6-4E7B-92A2-BDBF27A68274}" type="presParOf" srcId="{83DF99A1-A139-4186-8ACE-DF39190CC57C}" destId="{A48CE25D-AD7F-4732-ABA8-78DC5B031068}" srcOrd="1" destOrd="0" presId="urn:microsoft.com/office/officeart/2005/8/layout/hierarchy2"/>
    <dgm:cxn modelId="{20D52098-2A2A-4AF6-BBF8-C9C146BF8E06}" type="presParOf" srcId="{E104D357-FE7D-4D4D-BFB4-F9743CD43C2D}" destId="{26E66A2D-277C-4833-8FCA-0375D9E44D63}" srcOrd="2" destOrd="0" presId="urn:microsoft.com/office/officeart/2005/8/layout/hierarchy2"/>
    <dgm:cxn modelId="{47ECE7D1-B388-42C4-B1F6-F19CF4D568C8}" type="presParOf" srcId="{26E66A2D-277C-4833-8FCA-0375D9E44D63}" destId="{B0F792AD-D779-4FE4-BBC0-B9BDD949A88F}" srcOrd="0" destOrd="0" presId="urn:microsoft.com/office/officeart/2005/8/layout/hierarchy2"/>
    <dgm:cxn modelId="{E8E58F2E-A085-4180-BF8E-A1E6F908DE73}" type="presParOf" srcId="{E104D357-FE7D-4D4D-BFB4-F9743CD43C2D}" destId="{5BD65714-C117-45BE-8771-00CE4779D10D}" srcOrd="3" destOrd="0" presId="urn:microsoft.com/office/officeart/2005/8/layout/hierarchy2"/>
    <dgm:cxn modelId="{9C4756B6-0A94-4D77-9FC7-656F6C513EC3}" type="presParOf" srcId="{5BD65714-C117-45BE-8771-00CE4779D10D}" destId="{C2CBEF2F-B1C0-474A-AE7F-DC188A3C8D86}" srcOrd="0" destOrd="0" presId="urn:microsoft.com/office/officeart/2005/8/layout/hierarchy2"/>
    <dgm:cxn modelId="{F95D0D7E-3894-4275-B724-B77C4DE874E3}" type="presParOf" srcId="{5BD65714-C117-45BE-8771-00CE4779D10D}" destId="{B6BF9586-0B6F-4E3D-BD98-4E518DCA186D}" srcOrd="1" destOrd="0" presId="urn:microsoft.com/office/officeart/2005/8/layout/hierarchy2"/>
    <dgm:cxn modelId="{BC926BE4-A542-4DEA-9B84-45874CBB1A4B}" type="presParOf" srcId="{A1C51E22-BB2B-4735-AF4E-825E30145ACF}" destId="{7A4231BA-3350-4147-9CCA-72C7CC6C52BC}" srcOrd="2" destOrd="0" presId="urn:microsoft.com/office/officeart/2005/8/layout/hierarchy2"/>
    <dgm:cxn modelId="{52F58B1D-6335-47BF-AC15-F8A8675774EE}" type="presParOf" srcId="{7A4231BA-3350-4147-9CCA-72C7CC6C52BC}" destId="{8894727D-9F5A-4C3A-A896-8D4BC1BC95CC}" srcOrd="0" destOrd="0" presId="urn:microsoft.com/office/officeart/2005/8/layout/hierarchy2"/>
    <dgm:cxn modelId="{2C3740A8-610D-4568-B4DA-5163052A9241}" type="presParOf" srcId="{A1C51E22-BB2B-4735-AF4E-825E30145ACF}" destId="{D911F787-A76F-4569-938B-727FB79700C3}" srcOrd="3" destOrd="0" presId="urn:microsoft.com/office/officeart/2005/8/layout/hierarchy2"/>
    <dgm:cxn modelId="{7D224C6B-19B5-40B5-B321-343FC11DFAC7}" type="presParOf" srcId="{D911F787-A76F-4569-938B-727FB79700C3}" destId="{B9B72AC7-87CB-4BC1-BF4C-C8B3DCF934A3}" srcOrd="0" destOrd="0" presId="urn:microsoft.com/office/officeart/2005/8/layout/hierarchy2"/>
    <dgm:cxn modelId="{CDBEA1DF-5D09-42CC-88A3-00390F3F915D}" type="presParOf" srcId="{D911F787-A76F-4569-938B-727FB79700C3}" destId="{7BF2BDD7-6B8D-4F20-94F8-3771FE5A74F6}" srcOrd="1" destOrd="0" presId="urn:microsoft.com/office/officeart/2005/8/layout/hierarchy2"/>
    <dgm:cxn modelId="{73B9A89D-DB53-4864-8BEC-FBB515FE30A2}" type="presParOf" srcId="{A1C51E22-BB2B-4735-AF4E-825E30145ACF}" destId="{DA66B1FD-195B-4038-B733-D106CEF0005F}" srcOrd="4" destOrd="0" presId="urn:microsoft.com/office/officeart/2005/8/layout/hierarchy2"/>
    <dgm:cxn modelId="{FBB74B86-DDF2-453B-9619-7514A37B8A89}" type="presParOf" srcId="{DA66B1FD-195B-4038-B733-D106CEF0005F}" destId="{438BB123-F70F-4796-9F99-10DA009E7C2D}" srcOrd="0" destOrd="0" presId="urn:microsoft.com/office/officeart/2005/8/layout/hierarchy2"/>
    <dgm:cxn modelId="{66C77FCA-61C6-4AC9-8B67-287C8ED40172}" type="presParOf" srcId="{A1C51E22-BB2B-4735-AF4E-825E30145ACF}" destId="{4015AD00-DF08-4215-81A6-7456A9E9695F}" srcOrd="5" destOrd="0" presId="urn:microsoft.com/office/officeart/2005/8/layout/hierarchy2"/>
    <dgm:cxn modelId="{0BC525E8-1266-4A24-BDD8-6C2610119246}" type="presParOf" srcId="{4015AD00-DF08-4215-81A6-7456A9E9695F}" destId="{04D44553-23A7-4C7B-B161-15899F3D206D}" srcOrd="0" destOrd="0" presId="urn:microsoft.com/office/officeart/2005/8/layout/hierarchy2"/>
    <dgm:cxn modelId="{6454CF8A-6F84-4115-9190-CC288009C87A}" type="presParOf" srcId="{4015AD00-DF08-4215-81A6-7456A9E9695F}" destId="{4B40EEE2-75B1-4055-9B26-79D468C2A32C}" srcOrd="1" destOrd="0" presId="urn:microsoft.com/office/officeart/2005/8/layout/hierarchy2"/>
    <dgm:cxn modelId="{5CD42DD7-0B5B-4B60-B5DF-C6800DEC71D5}" type="presParOf" srcId="{4B40EEE2-75B1-4055-9B26-79D468C2A32C}" destId="{A283E075-E1E5-486A-BD8C-491ADF031ED9}" srcOrd="0" destOrd="0" presId="urn:microsoft.com/office/officeart/2005/8/layout/hierarchy2"/>
    <dgm:cxn modelId="{B3C8F628-F9A4-4E70-89C8-ADD4882C26AA}" type="presParOf" srcId="{A283E075-E1E5-486A-BD8C-491ADF031ED9}" destId="{559246A5-0FEC-40C7-B518-8BB019DADC22}" srcOrd="0" destOrd="0" presId="urn:microsoft.com/office/officeart/2005/8/layout/hierarchy2"/>
    <dgm:cxn modelId="{600CDED1-FCB8-41BB-B297-4E237634886A}" type="presParOf" srcId="{4B40EEE2-75B1-4055-9B26-79D468C2A32C}" destId="{E4A3A0B1-35C7-44F6-86B3-0DAD9EA82E82}" srcOrd="1" destOrd="0" presId="urn:microsoft.com/office/officeart/2005/8/layout/hierarchy2"/>
    <dgm:cxn modelId="{1A0CB89A-F9E2-4BF2-A77A-7A85BE83BCCB}" type="presParOf" srcId="{E4A3A0B1-35C7-44F6-86B3-0DAD9EA82E82}" destId="{AE2CCADC-DE01-4639-846F-2116E36789C1}" srcOrd="0" destOrd="0" presId="urn:microsoft.com/office/officeart/2005/8/layout/hierarchy2"/>
    <dgm:cxn modelId="{80372168-3B29-4BC2-8729-EB76A8B41AC8}" type="presParOf" srcId="{E4A3A0B1-35C7-44F6-86B3-0DAD9EA82E82}" destId="{14FCC945-397F-4EF0-AC60-5ABDB7C12CA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604D743-1B4C-4558-88F5-C589EC3C7806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3D3ABFD5-6998-4B80-AF53-5910D9450AEE}">
      <dgm:prSet phldrT="[Текст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Информация в учебнике представлена в виде своеобразного диалога между учеником и автором, в котором автор предлагает обратить внимание, выделить для себя, совместно сделать вывод или поразмышлять на ту или иную тему. Учебник сопровождает ученика в его открытиях</a:t>
          </a:r>
          <a:endParaRPr lang="ru-RU" sz="1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38A6F812-1F67-404F-884B-456ECC70EDFA}" type="parTrans" cxnId="{6A3DEC35-06F1-429F-997E-4E5B0CD83F2B}">
      <dgm:prSet/>
      <dgm:spPr/>
      <dgm:t>
        <a:bodyPr/>
        <a:lstStyle/>
        <a:p>
          <a:endParaRPr lang="ru-RU"/>
        </a:p>
      </dgm:t>
    </dgm:pt>
    <dgm:pt modelId="{E8E5BADA-887E-4C6E-BAE8-7689F0BA9BE6}" type="sibTrans" cxnId="{6A3DEC35-06F1-429F-997E-4E5B0CD83F2B}">
      <dgm:prSet/>
      <dgm:spPr/>
      <dgm:t>
        <a:bodyPr/>
        <a:lstStyle/>
        <a:p>
          <a:endParaRPr lang="ru-RU"/>
        </a:p>
      </dgm:t>
    </dgm:pt>
    <dgm:pt modelId="{091BA0AC-FF3A-4C64-B48B-EC9566B0D412}">
      <dgm:prSet phldrT="[Текст]" custT="1"/>
      <dgm:spPr>
        <a:solidFill>
          <a:srgbClr val="CC99FF"/>
        </a:solidFill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Темы раскрываются через обращение к личностному восприятию проблемы, обращение к литературным/живописным примерам</a:t>
          </a:r>
          <a:endParaRPr lang="ru-RU" sz="2000" dirty="0">
            <a:solidFill>
              <a:schemeClr val="tx1"/>
            </a:solidFill>
          </a:endParaRPr>
        </a:p>
      </dgm:t>
    </dgm:pt>
    <dgm:pt modelId="{1D2A2601-F600-4B5C-8860-E350A8B25DE3}" type="parTrans" cxnId="{D6CF4B16-5E46-4D53-9A20-9B58F1A9ED6B}">
      <dgm:prSet/>
      <dgm:spPr/>
      <dgm:t>
        <a:bodyPr/>
        <a:lstStyle/>
        <a:p>
          <a:endParaRPr lang="ru-RU"/>
        </a:p>
      </dgm:t>
    </dgm:pt>
    <dgm:pt modelId="{031B13FC-501D-4B3B-A8B8-8CD576405688}" type="sibTrans" cxnId="{D6CF4B16-5E46-4D53-9A20-9B58F1A9ED6B}">
      <dgm:prSet/>
      <dgm:spPr/>
      <dgm:t>
        <a:bodyPr/>
        <a:lstStyle/>
        <a:p>
          <a:endParaRPr lang="ru-RU"/>
        </a:p>
      </dgm:t>
    </dgm:pt>
    <dgm:pt modelId="{FB68E13F-D98D-4498-B87F-65BD141CE493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Каждая тема содержит проблемный вопрос, который должен быть решен каждым Учеником для себя </a:t>
          </a:r>
        </a:p>
        <a:p>
          <a:pPr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dirty="0"/>
        </a:p>
      </dgm:t>
    </dgm:pt>
    <dgm:pt modelId="{70799879-D739-46B6-9786-7F520802A6D6}" type="parTrans" cxnId="{6E43C3E0-D1FD-419C-94C7-5165C9635CE6}">
      <dgm:prSet/>
      <dgm:spPr/>
      <dgm:t>
        <a:bodyPr/>
        <a:lstStyle/>
        <a:p>
          <a:endParaRPr lang="ru-RU"/>
        </a:p>
      </dgm:t>
    </dgm:pt>
    <dgm:pt modelId="{2E23A8FB-BF0B-4A7B-841F-F111CE1EAD5A}" type="sibTrans" cxnId="{6E43C3E0-D1FD-419C-94C7-5165C9635CE6}">
      <dgm:prSet/>
      <dgm:spPr/>
      <dgm:t>
        <a:bodyPr/>
        <a:lstStyle/>
        <a:p>
          <a:endParaRPr lang="ru-RU"/>
        </a:p>
      </dgm:t>
    </dgm:pt>
    <dgm:pt modelId="{4E9E3171-0B58-4110-AB10-CFE9D6D37CD6}">
      <dgm:prSet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Учимся размышлять и воспринимать музыку через призму своего внутреннего мира </a:t>
          </a:r>
        </a:p>
        <a:p>
          <a:pPr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dirty="0">
            <a:solidFill>
              <a:schemeClr val="tx1"/>
            </a:solidFill>
          </a:endParaRPr>
        </a:p>
      </dgm:t>
    </dgm:pt>
    <dgm:pt modelId="{195D558F-24A0-41B9-82C6-AF0EEF0E2ED5}" type="parTrans" cxnId="{A53E9114-3001-4307-8CB3-D8827EDDAC9B}">
      <dgm:prSet/>
      <dgm:spPr/>
      <dgm:t>
        <a:bodyPr/>
        <a:lstStyle/>
        <a:p>
          <a:endParaRPr lang="ru-RU"/>
        </a:p>
      </dgm:t>
    </dgm:pt>
    <dgm:pt modelId="{C32A509C-0438-4AF2-83FF-9924E678B59E}" type="sibTrans" cxnId="{A53E9114-3001-4307-8CB3-D8827EDDAC9B}">
      <dgm:prSet/>
      <dgm:spPr/>
      <dgm:t>
        <a:bodyPr/>
        <a:lstStyle/>
        <a:p>
          <a:endParaRPr lang="ru-RU"/>
        </a:p>
      </dgm:t>
    </dgm:pt>
    <dgm:pt modelId="{6413D80E-08FC-4F09-9DC5-CD73A447340B}">
      <dgm:prSet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>
              <a:solidFill>
                <a:schemeClr val="tx1"/>
              </a:solidFill>
            </a:rPr>
            <a:t>Задания, предполагающие диалог со сверстниками, учителем и самим собой </a:t>
          </a:r>
        </a:p>
        <a:p>
          <a:pPr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dirty="0"/>
        </a:p>
      </dgm:t>
    </dgm:pt>
    <dgm:pt modelId="{143989B4-478C-4E80-B727-BCEB57F6BDAF}" type="parTrans" cxnId="{B197C7BE-92B5-4271-8391-2F71D1578DE9}">
      <dgm:prSet/>
      <dgm:spPr/>
      <dgm:t>
        <a:bodyPr/>
        <a:lstStyle/>
        <a:p>
          <a:endParaRPr lang="ru-RU"/>
        </a:p>
      </dgm:t>
    </dgm:pt>
    <dgm:pt modelId="{D84D0B51-341A-4789-A8B9-2AA95AAA889C}" type="sibTrans" cxnId="{B197C7BE-92B5-4271-8391-2F71D1578DE9}">
      <dgm:prSet/>
      <dgm:spPr/>
      <dgm:t>
        <a:bodyPr/>
        <a:lstStyle/>
        <a:p>
          <a:endParaRPr lang="ru-RU"/>
        </a:p>
      </dgm:t>
    </dgm:pt>
    <dgm:pt modelId="{28A84204-9980-47A0-94B6-29DA059BE27B}" type="pres">
      <dgm:prSet presAssocID="{F604D743-1B4C-4558-88F5-C589EC3C780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DC43157-5F7C-4F38-871E-13E3694A1A46}" type="pres">
      <dgm:prSet presAssocID="{3D3ABFD5-6998-4B80-AF53-5910D9450AEE}" presName="parentLin" presStyleCnt="0"/>
      <dgm:spPr/>
    </dgm:pt>
    <dgm:pt modelId="{BD4CE20F-D055-4E14-81B6-FD43EB3D0707}" type="pres">
      <dgm:prSet presAssocID="{3D3ABFD5-6998-4B80-AF53-5910D9450AEE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596CBC8D-6B1C-4D83-8FCA-0091BF01CECF}" type="pres">
      <dgm:prSet presAssocID="{3D3ABFD5-6998-4B80-AF53-5910D9450AEE}" presName="parentText" presStyleLbl="node1" presStyleIdx="0" presStyleCnt="5" custScaleX="140157" custScaleY="174576" custLinFactNeighborX="-12088" custLinFactNeighborY="1096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691128-9065-4704-A281-5DBE83BFB090}" type="pres">
      <dgm:prSet presAssocID="{3D3ABFD5-6998-4B80-AF53-5910D9450AEE}" presName="negativeSpace" presStyleCnt="0"/>
      <dgm:spPr/>
    </dgm:pt>
    <dgm:pt modelId="{09A09E65-089A-46D0-A093-71ED06A06EFD}" type="pres">
      <dgm:prSet presAssocID="{3D3ABFD5-6998-4B80-AF53-5910D9450AEE}" presName="childText" presStyleLbl="conFgAcc1" presStyleIdx="0" presStyleCnt="5">
        <dgm:presLayoutVars>
          <dgm:bulletEnabled val="1"/>
        </dgm:presLayoutVars>
      </dgm:prSet>
      <dgm:spPr/>
    </dgm:pt>
    <dgm:pt modelId="{E37895A0-C327-477E-B018-04D5A7A7699B}" type="pres">
      <dgm:prSet presAssocID="{E8E5BADA-887E-4C6E-BAE8-7689F0BA9BE6}" presName="spaceBetweenRectangles" presStyleCnt="0"/>
      <dgm:spPr/>
    </dgm:pt>
    <dgm:pt modelId="{5E163867-D985-4B7B-B497-E37C090B9CFE}" type="pres">
      <dgm:prSet presAssocID="{091BA0AC-FF3A-4C64-B48B-EC9566B0D412}" presName="parentLin" presStyleCnt="0"/>
      <dgm:spPr/>
    </dgm:pt>
    <dgm:pt modelId="{FED48630-401F-441E-80D4-6C742B48FE38}" type="pres">
      <dgm:prSet presAssocID="{091BA0AC-FF3A-4C64-B48B-EC9566B0D412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2A0990A9-0679-4545-AE2D-6C763A0A98DC}" type="pres">
      <dgm:prSet presAssocID="{091BA0AC-FF3A-4C64-B48B-EC9566B0D412}" presName="parentText" presStyleLbl="node1" presStyleIdx="1" presStyleCnt="5" custScaleX="12747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DFD882-EE11-4BA8-9E67-6518D2252BE2}" type="pres">
      <dgm:prSet presAssocID="{091BA0AC-FF3A-4C64-B48B-EC9566B0D412}" presName="negativeSpace" presStyleCnt="0"/>
      <dgm:spPr/>
    </dgm:pt>
    <dgm:pt modelId="{528D479F-C222-449B-A6D4-69386E056A6D}" type="pres">
      <dgm:prSet presAssocID="{091BA0AC-FF3A-4C64-B48B-EC9566B0D412}" presName="childText" presStyleLbl="conFgAcc1" presStyleIdx="1" presStyleCnt="5">
        <dgm:presLayoutVars>
          <dgm:bulletEnabled val="1"/>
        </dgm:presLayoutVars>
      </dgm:prSet>
      <dgm:spPr/>
    </dgm:pt>
    <dgm:pt modelId="{B8BF86BC-5268-4143-9525-CD0732FC2EB1}" type="pres">
      <dgm:prSet presAssocID="{031B13FC-501D-4B3B-A8B8-8CD576405688}" presName="spaceBetweenRectangles" presStyleCnt="0"/>
      <dgm:spPr/>
    </dgm:pt>
    <dgm:pt modelId="{DF03DD39-4AB3-482B-8C46-57A43597791A}" type="pres">
      <dgm:prSet presAssocID="{4E9E3171-0B58-4110-AB10-CFE9D6D37CD6}" presName="parentLin" presStyleCnt="0"/>
      <dgm:spPr/>
    </dgm:pt>
    <dgm:pt modelId="{CAAFAA33-7247-4533-8C9B-1DC116ED9FC4}" type="pres">
      <dgm:prSet presAssocID="{4E9E3171-0B58-4110-AB10-CFE9D6D37CD6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70D10896-81BE-4BBB-99B8-095F6AC85CA9}" type="pres">
      <dgm:prSet presAssocID="{4E9E3171-0B58-4110-AB10-CFE9D6D37CD6}" presName="parentText" presStyleLbl="node1" presStyleIdx="2" presStyleCnt="5" custScaleX="13061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F57E3F-9A64-4865-94D2-B6DF53684887}" type="pres">
      <dgm:prSet presAssocID="{4E9E3171-0B58-4110-AB10-CFE9D6D37CD6}" presName="negativeSpace" presStyleCnt="0"/>
      <dgm:spPr/>
    </dgm:pt>
    <dgm:pt modelId="{CDFCCAE0-E8D2-4183-9C1E-310D2C345572}" type="pres">
      <dgm:prSet presAssocID="{4E9E3171-0B58-4110-AB10-CFE9D6D37CD6}" presName="childText" presStyleLbl="conFgAcc1" presStyleIdx="2" presStyleCnt="5">
        <dgm:presLayoutVars>
          <dgm:bulletEnabled val="1"/>
        </dgm:presLayoutVars>
      </dgm:prSet>
      <dgm:spPr/>
    </dgm:pt>
    <dgm:pt modelId="{DC24233C-759B-4B7A-91A9-12E8EB778750}" type="pres">
      <dgm:prSet presAssocID="{C32A509C-0438-4AF2-83FF-9924E678B59E}" presName="spaceBetweenRectangles" presStyleCnt="0"/>
      <dgm:spPr/>
    </dgm:pt>
    <dgm:pt modelId="{CCB1AC3A-5B33-431D-AED9-18B2F4D2AD1B}" type="pres">
      <dgm:prSet presAssocID="{FB68E13F-D98D-4498-B87F-65BD141CE493}" presName="parentLin" presStyleCnt="0"/>
      <dgm:spPr/>
    </dgm:pt>
    <dgm:pt modelId="{8F6EE90D-981F-4E1D-8308-C48FFE7F7D54}" type="pres">
      <dgm:prSet presAssocID="{FB68E13F-D98D-4498-B87F-65BD141CE493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6C8E6847-53B1-4BA0-AB6A-6A99985A5A5B}" type="pres">
      <dgm:prSet presAssocID="{FB68E13F-D98D-4498-B87F-65BD141CE493}" presName="parentText" presStyleLbl="node1" presStyleIdx="3" presStyleCnt="5" custScaleX="132339" custLinFactNeighborX="-12088" custLinFactNeighborY="-684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BE321D-80A7-4B91-9698-DEA7FFF6E4C1}" type="pres">
      <dgm:prSet presAssocID="{FB68E13F-D98D-4498-B87F-65BD141CE493}" presName="negativeSpace" presStyleCnt="0"/>
      <dgm:spPr/>
    </dgm:pt>
    <dgm:pt modelId="{1AEAA95B-DC26-40DE-9626-4B8AD87E9D79}" type="pres">
      <dgm:prSet presAssocID="{FB68E13F-D98D-4498-B87F-65BD141CE493}" presName="childText" presStyleLbl="conFgAcc1" presStyleIdx="3" presStyleCnt="5">
        <dgm:presLayoutVars>
          <dgm:bulletEnabled val="1"/>
        </dgm:presLayoutVars>
      </dgm:prSet>
      <dgm:spPr/>
    </dgm:pt>
    <dgm:pt modelId="{80512A03-4DE4-4B6E-A9BD-D4CCD7B2762D}" type="pres">
      <dgm:prSet presAssocID="{2E23A8FB-BF0B-4A7B-841F-F111CE1EAD5A}" presName="spaceBetweenRectangles" presStyleCnt="0"/>
      <dgm:spPr/>
    </dgm:pt>
    <dgm:pt modelId="{380A4F26-AE96-44F5-8564-876A11FC952A}" type="pres">
      <dgm:prSet presAssocID="{6413D80E-08FC-4F09-9DC5-CD73A447340B}" presName="parentLin" presStyleCnt="0"/>
      <dgm:spPr/>
    </dgm:pt>
    <dgm:pt modelId="{83F11AD9-4980-4A0F-92AD-469A37A088A9}" type="pres">
      <dgm:prSet presAssocID="{6413D80E-08FC-4F09-9DC5-CD73A447340B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72151B4F-B235-4B93-BBE1-8A4E531C2260}" type="pres">
      <dgm:prSet presAssocID="{6413D80E-08FC-4F09-9DC5-CD73A447340B}" presName="parentText" presStyleLbl="node1" presStyleIdx="4" presStyleCnt="5" custScaleX="12747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333FAF-4B15-4B33-A960-B5D5CB491AB5}" type="pres">
      <dgm:prSet presAssocID="{6413D80E-08FC-4F09-9DC5-CD73A447340B}" presName="negativeSpace" presStyleCnt="0"/>
      <dgm:spPr/>
    </dgm:pt>
    <dgm:pt modelId="{3B77B71A-8A61-477D-9F58-B6333B2E18F7}" type="pres">
      <dgm:prSet presAssocID="{6413D80E-08FC-4F09-9DC5-CD73A447340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A72E16ED-4BC0-49F7-B959-92500B9DA085}" type="presOf" srcId="{091BA0AC-FF3A-4C64-B48B-EC9566B0D412}" destId="{FED48630-401F-441E-80D4-6C742B48FE38}" srcOrd="0" destOrd="0" presId="urn:microsoft.com/office/officeart/2005/8/layout/list1"/>
    <dgm:cxn modelId="{0AF945BA-60A8-43A9-B741-36854DEAB8CD}" type="presOf" srcId="{F604D743-1B4C-4558-88F5-C589EC3C7806}" destId="{28A84204-9980-47A0-94B6-29DA059BE27B}" srcOrd="0" destOrd="0" presId="urn:microsoft.com/office/officeart/2005/8/layout/list1"/>
    <dgm:cxn modelId="{A916073F-8CBE-4C40-838F-7FBB76CCFE6C}" type="presOf" srcId="{4E9E3171-0B58-4110-AB10-CFE9D6D37CD6}" destId="{CAAFAA33-7247-4533-8C9B-1DC116ED9FC4}" srcOrd="0" destOrd="0" presId="urn:microsoft.com/office/officeart/2005/8/layout/list1"/>
    <dgm:cxn modelId="{B197C7BE-92B5-4271-8391-2F71D1578DE9}" srcId="{F604D743-1B4C-4558-88F5-C589EC3C7806}" destId="{6413D80E-08FC-4F09-9DC5-CD73A447340B}" srcOrd="4" destOrd="0" parTransId="{143989B4-478C-4E80-B727-BCEB57F6BDAF}" sibTransId="{D84D0B51-341A-4789-A8B9-2AA95AAA889C}"/>
    <dgm:cxn modelId="{D6CF4B16-5E46-4D53-9A20-9B58F1A9ED6B}" srcId="{F604D743-1B4C-4558-88F5-C589EC3C7806}" destId="{091BA0AC-FF3A-4C64-B48B-EC9566B0D412}" srcOrd="1" destOrd="0" parTransId="{1D2A2601-F600-4B5C-8860-E350A8B25DE3}" sibTransId="{031B13FC-501D-4B3B-A8B8-8CD576405688}"/>
    <dgm:cxn modelId="{A1F918C2-6018-4714-BDE7-7082C9D9BB3D}" type="presOf" srcId="{3D3ABFD5-6998-4B80-AF53-5910D9450AEE}" destId="{BD4CE20F-D055-4E14-81B6-FD43EB3D0707}" srcOrd="0" destOrd="0" presId="urn:microsoft.com/office/officeart/2005/8/layout/list1"/>
    <dgm:cxn modelId="{302DA299-FE64-4F18-AFAA-610DC89B54A1}" type="presOf" srcId="{6413D80E-08FC-4F09-9DC5-CD73A447340B}" destId="{72151B4F-B235-4B93-BBE1-8A4E531C2260}" srcOrd="1" destOrd="0" presId="urn:microsoft.com/office/officeart/2005/8/layout/list1"/>
    <dgm:cxn modelId="{31AA85BA-D8FD-4A0C-869D-BCA254E22E78}" type="presOf" srcId="{6413D80E-08FC-4F09-9DC5-CD73A447340B}" destId="{83F11AD9-4980-4A0F-92AD-469A37A088A9}" srcOrd="0" destOrd="0" presId="urn:microsoft.com/office/officeart/2005/8/layout/list1"/>
    <dgm:cxn modelId="{0FC474B8-65E5-458E-BED8-FE278CBE44D7}" type="presOf" srcId="{091BA0AC-FF3A-4C64-B48B-EC9566B0D412}" destId="{2A0990A9-0679-4545-AE2D-6C763A0A98DC}" srcOrd="1" destOrd="0" presId="urn:microsoft.com/office/officeart/2005/8/layout/list1"/>
    <dgm:cxn modelId="{0B459517-08DC-4493-84F5-7CE4B8731EF9}" type="presOf" srcId="{3D3ABFD5-6998-4B80-AF53-5910D9450AEE}" destId="{596CBC8D-6B1C-4D83-8FCA-0091BF01CECF}" srcOrd="1" destOrd="0" presId="urn:microsoft.com/office/officeart/2005/8/layout/list1"/>
    <dgm:cxn modelId="{A53E9114-3001-4307-8CB3-D8827EDDAC9B}" srcId="{F604D743-1B4C-4558-88F5-C589EC3C7806}" destId="{4E9E3171-0B58-4110-AB10-CFE9D6D37CD6}" srcOrd="2" destOrd="0" parTransId="{195D558F-24A0-41B9-82C6-AF0EEF0E2ED5}" sibTransId="{C32A509C-0438-4AF2-83FF-9924E678B59E}"/>
    <dgm:cxn modelId="{EF470715-C5EA-48C2-81A5-27CD1BA1F302}" type="presOf" srcId="{FB68E13F-D98D-4498-B87F-65BD141CE493}" destId="{8F6EE90D-981F-4E1D-8308-C48FFE7F7D54}" srcOrd="0" destOrd="0" presId="urn:microsoft.com/office/officeart/2005/8/layout/list1"/>
    <dgm:cxn modelId="{E7DB1243-A8F7-4F51-A099-686B6708444D}" type="presOf" srcId="{FB68E13F-D98D-4498-B87F-65BD141CE493}" destId="{6C8E6847-53B1-4BA0-AB6A-6A99985A5A5B}" srcOrd="1" destOrd="0" presId="urn:microsoft.com/office/officeart/2005/8/layout/list1"/>
    <dgm:cxn modelId="{6A3DEC35-06F1-429F-997E-4E5B0CD83F2B}" srcId="{F604D743-1B4C-4558-88F5-C589EC3C7806}" destId="{3D3ABFD5-6998-4B80-AF53-5910D9450AEE}" srcOrd="0" destOrd="0" parTransId="{38A6F812-1F67-404F-884B-456ECC70EDFA}" sibTransId="{E8E5BADA-887E-4C6E-BAE8-7689F0BA9BE6}"/>
    <dgm:cxn modelId="{6E43C3E0-D1FD-419C-94C7-5165C9635CE6}" srcId="{F604D743-1B4C-4558-88F5-C589EC3C7806}" destId="{FB68E13F-D98D-4498-B87F-65BD141CE493}" srcOrd="3" destOrd="0" parTransId="{70799879-D739-46B6-9786-7F520802A6D6}" sibTransId="{2E23A8FB-BF0B-4A7B-841F-F111CE1EAD5A}"/>
    <dgm:cxn modelId="{A7EDB778-EDAB-4742-9A4A-A6EDB3851233}" type="presOf" srcId="{4E9E3171-0B58-4110-AB10-CFE9D6D37CD6}" destId="{70D10896-81BE-4BBB-99B8-095F6AC85CA9}" srcOrd="1" destOrd="0" presId="urn:microsoft.com/office/officeart/2005/8/layout/list1"/>
    <dgm:cxn modelId="{18020632-263A-4EF2-A230-21019B660B37}" type="presParOf" srcId="{28A84204-9980-47A0-94B6-29DA059BE27B}" destId="{1DC43157-5F7C-4F38-871E-13E3694A1A46}" srcOrd="0" destOrd="0" presId="urn:microsoft.com/office/officeart/2005/8/layout/list1"/>
    <dgm:cxn modelId="{DBE2E392-5AC6-4F00-A037-5BED67F5CF82}" type="presParOf" srcId="{1DC43157-5F7C-4F38-871E-13E3694A1A46}" destId="{BD4CE20F-D055-4E14-81B6-FD43EB3D0707}" srcOrd="0" destOrd="0" presId="urn:microsoft.com/office/officeart/2005/8/layout/list1"/>
    <dgm:cxn modelId="{ACE8D1F0-9E26-41CA-965E-98B5EBC5A0B0}" type="presParOf" srcId="{1DC43157-5F7C-4F38-871E-13E3694A1A46}" destId="{596CBC8D-6B1C-4D83-8FCA-0091BF01CECF}" srcOrd="1" destOrd="0" presId="urn:microsoft.com/office/officeart/2005/8/layout/list1"/>
    <dgm:cxn modelId="{14854864-2DFC-4B69-A917-5499D3A8E70F}" type="presParOf" srcId="{28A84204-9980-47A0-94B6-29DA059BE27B}" destId="{54691128-9065-4704-A281-5DBE83BFB090}" srcOrd="1" destOrd="0" presId="urn:microsoft.com/office/officeart/2005/8/layout/list1"/>
    <dgm:cxn modelId="{6CC419BD-75A0-49C3-9560-40FAE98570BC}" type="presParOf" srcId="{28A84204-9980-47A0-94B6-29DA059BE27B}" destId="{09A09E65-089A-46D0-A093-71ED06A06EFD}" srcOrd="2" destOrd="0" presId="urn:microsoft.com/office/officeart/2005/8/layout/list1"/>
    <dgm:cxn modelId="{B2FBE0F0-8E37-403E-8913-E81A4B8D912E}" type="presParOf" srcId="{28A84204-9980-47A0-94B6-29DA059BE27B}" destId="{E37895A0-C327-477E-B018-04D5A7A7699B}" srcOrd="3" destOrd="0" presId="urn:microsoft.com/office/officeart/2005/8/layout/list1"/>
    <dgm:cxn modelId="{C47C96B8-3168-4885-8BAE-753F39CF3DBE}" type="presParOf" srcId="{28A84204-9980-47A0-94B6-29DA059BE27B}" destId="{5E163867-D985-4B7B-B497-E37C090B9CFE}" srcOrd="4" destOrd="0" presId="urn:microsoft.com/office/officeart/2005/8/layout/list1"/>
    <dgm:cxn modelId="{45F8BEF0-14D3-4C40-8F25-7A53044206AC}" type="presParOf" srcId="{5E163867-D985-4B7B-B497-E37C090B9CFE}" destId="{FED48630-401F-441E-80D4-6C742B48FE38}" srcOrd="0" destOrd="0" presId="urn:microsoft.com/office/officeart/2005/8/layout/list1"/>
    <dgm:cxn modelId="{B5FD4C04-BCD5-4E83-AF9A-83CFF9A35912}" type="presParOf" srcId="{5E163867-D985-4B7B-B497-E37C090B9CFE}" destId="{2A0990A9-0679-4545-AE2D-6C763A0A98DC}" srcOrd="1" destOrd="0" presId="urn:microsoft.com/office/officeart/2005/8/layout/list1"/>
    <dgm:cxn modelId="{07AF655C-6576-4618-8711-807D5707D328}" type="presParOf" srcId="{28A84204-9980-47A0-94B6-29DA059BE27B}" destId="{03DFD882-EE11-4BA8-9E67-6518D2252BE2}" srcOrd="5" destOrd="0" presId="urn:microsoft.com/office/officeart/2005/8/layout/list1"/>
    <dgm:cxn modelId="{C22F8096-0AD3-4185-8C9D-441AA7B1CD8E}" type="presParOf" srcId="{28A84204-9980-47A0-94B6-29DA059BE27B}" destId="{528D479F-C222-449B-A6D4-69386E056A6D}" srcOrd="6" destOrd="0" presId="urn:microsoft.com/office/officeart/2005/8/layout/list1"/>
    <dgm:cxn modelId="{2D162F2B-F9F4-43E9-B34F-A4DC6D0457BF}" type="presParOf" srcId="{28A84204-9980-47A0-94B6-29DA059BE27B}" destId="{B8BF86BC-5268-4143-9525-CD0732FC2EB1}" srcOrd="7" destOrd="0" presId="urn:microsoft.com/office/officeart/2005/8/layout/list1"/>
    <dgm:cxn modelId="{1DFF3EE6-C29C-4B95-A291-9CE43922CCC7}" type="presParOf" srcId="{28A84204-9980-47A0-94B6-29DA059BE27B}" destId="{DF03DD39-4AB3-482B-8C46-57A43597791A}" srcOrd="8" destOrd="0" presId="urn:microsoft.com/office/officeart/2005/8/layout/list1"/>
    <dgm:cxn modelId="{3635EFAF-61E0-4BB7-8101-DFFA2FDDD9BD}" type="presParOf" srcId="{DF03DD39-4AB3-482B-8C46-57A43597791A}" destId="{CAAFAA33-7247-4533-8C9B-1DC116ED9FC4}" srcOrd="0" destOrd="0" presId="urn:microsoft.com/office/officeart/2005/8/layout/list1"/>
    <dgm:cxn modelId="{C0043292-975C-4C4B-A53D-E236F1739CB8}" type="presParOf" srcId="{DF03DD39-4AB3-482B-8C46-57A43597791A}" destId="{70D10896-81BE-4BBB-99B8-095F6AC85CA9}" srcOrd="1" destOrd="0" presId="urn:microsoft.com/office/officeart/2005/8/layout/list1"/>
    <dgm:cxn modelId="{242023FA-462E-47FB-B0C0-B8148949928C}" type="presParOf" srcId="{28A84204-9980-47A0-94B6-29DA059BE27B}" destId="{92F57E3F-9A64-4865-94D2-B6DF53684887}" srcOrd="9" destOrd="0" presId="urn:microsoft.com/office/officeart/2005/8/layout/list1"/>
    <dgm:cxn modelId="{9435DD03-E61E-4F31-B06F-47CFC35E222A}" type="presParOf" srcId="{28A84204-9980-47A0-94B6-29DA059BE27B}" destId="{CDFCCAE0-E8D2-4183-9C1E-310D2C345572}" srcOrd="10" destOrd="0" presId="urn:microsoft.com/office/officeart/2005/8/layout/list1"/>
    <dgm:cxn modelId="{52240264-BF50-4770-A2E6-6790ED1DBB61}" type="presParOf" srcId="{28A84204-9980-47A0-94B6-29DA059BE27B}" destId="{DC24233C-759B-4B7A-91A9-12E8EB778750}" srcOrd="11" destOrd="0" presId="urn:microsoft.com/office/officeart/2005/8/layout/list1"/>
    <dgm:cxn modelId="{B81ACA73-17BF-47BB-A298-79FDA3FC2EFC}" type="presParOf" srcId="{28A84204-9980-47A0-94B6-29DA059BE27B}" destId="{CCB1AC3A-5B33-431D-AED9-18B2F4D2AD1B}" srcOrd="12" destOrd="0" presId="urn:microsoft.com/office/officeart/2005/8/layout/list1"/>
    <dgm:cxn modelId="{F3DF121B-CFCE-405C-906A-BE6DCF7267FC}" type="presParOf" srcId="{CCB1AC3A-5B33-431D-AED9-18B2F4D2AD1B}" destId="{8F6EE90D-981F-4E1D-8308-C48FFE7F7D54}" srcOrd="0" destOrd="0" presId="urn:microsoft.com/office/officeart/2005/8/layout/list1"/>
    <dgm:cxn modelId="{E00D1E83-3910-407F-BC36-1AA4DEFFCA0C}" type="presParOf" srcId="{CCB1AC3A-5B33-431D-AED9-18B2F4D2AD1B}" destId="{6C8E6847-53B1-4BA0-AB6A-6A99985A5A5B}" srcOrd="1" destOrd="0" presId="urn:microsoft.com/office/officeart/2005/8/layout/list1"/>
    <dgm:cxn modelId="{6F90AC18-35C4-46DB-A79D-0233007DBF3C}" type="presParOf" srcId="{28A84204-9980-47A0-94B6-29DA059BE27B}" destId="{B1BE321D-80A7-4B91-9698-DEA7FFF6E4C1}" srcOrd="13" destOrd="0" presId="urn:microsoft.com/office/officeart/2005/8/layout/list1"/>
    <dgm:cxn modelId="{6495A3D8-A032-4121-A5C2-A907C0D8FD89}" type="presParOf" srcId="{28A84204-9980-47A0-94B6-29DA059BE27B}" destId="{1AEAA95B-DC26-40DE-9626-4B8AD87E9D79}" srcOrd="14" destOrd="0" presId="urn:microsoft.com/office/officeart/2005/8/layout/list1"/>
    <dgm:cxn modelId="{D8D431B3-F007-4DCE-8710-8BA42BEA0B60}" type="presParOf" srcId="{28A84204-9980-47A0-94B6-29DA059BE27B}" destId="{80512A03-4DE4-4B6E-A9BD-D4CCD7B2762D}" srcOrd="15" destOrd="0" presId="urn:microsoft.com/office/officeart/2005/8/layout/list1"/>
    <dgm:cxn modelId="{0F12ED00-5146-4BC2-A9EA-5B254AC3AE50}" type="presParOf" srcId="{28A84204-9980-47A0-94B6-29DA059BE27B}" destId="{380A4F26-AE96-44F5-8564-876A11FC952A}" srcOrd="16" destOrd="0" presId="urn:microsoft.com/office/officeart/2005/8/layout/list1"/>
    <dgm:cxn modelId="{D65ADE2A-78D0-4BFB-B47D-BD9670B60617}" type="presParOf" srcId="{380A4F26-AE96-44F5-8564-876A11FC952A}" destId="{83F11AD9-4980-4A0F-92AD-469A37A088A9}" srcOrd="0" destOrd="0" presId="urn:microsoft.com/office/officeart/2005/8/layout/list1"/>
    <dgm:cxn modelId="{87D01195-1F76-4C7E-A17F-1406C209A7BD}" type="presParOf" srcId="{380A4F26-AE96-44F5-8564-876A11FC952A}" destId="{72151B4F-B235-4B93-BBE1-8A4E531C2260}" srcOrd="1" destOrd="0" presId="urn:microsoft.com/office/officeart/2005/8/layout/list1"/>
    <dgm:cxn modelId="{EDFC978F-5149-4243-91FD-DFCD08237996}" type="presParOf" srcId="{28A84204-9980-47A0-94B6-29DA059BE27B}" destId="{BB333FAF-4B15-4B33-A960-B5D5CB491AB5}" srcOrd="17" destOrd="0" presId="urn:microsoft.com/office/officeart/2005/8/layout/list1"/>
    <dgm:cxn modelId="{44420165-DBC4-4AA2-927B-3E3611D3A9F5}" type="presParOf" srcId="{28A84204-9980-47A0-94B6-29DA059BE27B}" destId="{3B77B71A-8A61-477D-9F58-B6333B2E18F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ACC9CD4-5793-4DD2-9056-2E7458EE5FF0}" type="doc">
      <dgm:prSet loTypeId="urn:microsoft.com/office/officeart/2005/8/layout/cycle3" loCatId="cycle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197B9BB7-BA20-4149-BFCE-4D4515675CE4}">
      <dgm:prSet phldrT="[Текст]" custT="1"/>
      <dgm:spPr/>
      <dgm:t>
        <a:bodyPr/>
        <a:lstStyle/>
        <a:p>
          <a:r>
            <a:rPr lang="ru-RU" sz="2000" dirty="0" smtClean="0"/>
            <a:t>Информационную </a:t>
          </a:r>
          <a:endParaRPr lang="ru-RU" sz="2000" dirty="0"/>
        </a:p>
      </dgm:t>
    </dgm:pt>
    <dgm:pt modelId="{66C8B64C-3FAB-4F41-9444-1428EC5904E0}" type="parTrans" cxnId="{DE3FF682-96CD-4EE3-AFB4-613B19287D77}">
      <dgm:prSet/>
      <dgm:spPr/>
      <dgm:t>
        <a:bodyPr/>
        <a:lstStyle/>
        <a:p>
          <a:endParaRPr lang="ru-RU"/>
        </a:p>
      </dgm:t>
    </dgm:pt>
    <dgm:pt modelId="{9821A15F-80A9-47B3-B345-43CBDFB80FDD}" type="sibTrans" cxnId="{DE3FF682-96CD-4EE3-AFB4-613B19287D77}">
      <dgm:prSet/>
      <dgm:spPr/>
      <dgm:t>
        <a:bodyPr/>
        <a:lstStyle/>
        <a:p>
          <a:endParaRPr lang="ru-RU"/>
        </a:p>
      </dgm:t>
    </dgm:pt>
    <dgm:pt modelId="{2BD5A41C-0186-4F52-95C3-00CA053ED488}">
      <dgm:prSet phldrT="[Текст]" custT="1"/>
      <dgm:spPr/>
      <dgm:t>
        <a:bodyPr/>
        <a:lstStyle/>
        <a:p>
          <a:r>
            <a:rPr lang="ru-RU" sz="2000" dirty="0" smtClean="0"/>
            <a:t>Систематизирующую </a:t>
          </a:r>
          <a:endParaRPr lang="ru-RU" sz="2000" dirty="0"/>
        </a:p>
      </dgm:t>
    </dgm:pt>
    <dgm:pt modelId="{31D34780-49A1-48F1-BC0E-001F1FB5DC13}" type="parTrans" cxnId="{7B316EA5-A2C9-477A-8023-92D2DB0F2879}">
      <dgm:prSet/>
      <dgm:spPr/>
      <dgm:t>
        <a:bodyPr/>
        <a:lstStyle/>
        <a:p>
          <a:endParaRPr lang="ru-RU"/>
        </a:p>
      </dgm:t>
    </dgm:pt>
    <dgm:pt modelId="{DC04799A-F71C-4651-917A-DD138CDDC329}" type="sibTrans" cxnId="{7B316EA5-A2C9-477A-8023-92D2DB0F2879}">
      <dgm:prSet/>
      <dgm:spPr/>
      <dgm:t>
        <a:bodyPr/>
        <a:lstStyle/>
        <a:p>
          <a:endParaRPr lang="ru-RU"/>
        </a:p>
      </dgm:t>
    </dgm:pt>
    <dgm:pt modelId="{4E897F28-3576-437C-8DC2-619961977C89}">
      <dgm:prSet phldrT="[Текст]" custT="1"/>
      <dgm:spPr/>
      <dgm:t>
        <a:bodyPr/>
        <a:lstStyle/>
        <a:p>
          <a:r>
            <a:rPr lang="ru-RU" sz="2000" dirty="0" smtClean="0"/>
            <a:t>Мотивационную </a:t>
          </a:r>
          <a:endParaRPr lang="ru-RU" sz="2000" dirty="0"/>
        </a:p>
      </dgm:t>
    </dgm:pt>
    <dgm:pt modelId="{8DD5F2BF-A12C-4251-8341-216121CCE5C7}" type="parTrans" cxnId="{50DFB2AD-2E4B-42C7-9444-5A46F9FFF181}">
      <dgm:prSet/>
      <dgm:spPr/>
      <dgm:t>
        <a:bodyPr/>
        <a:lstStyle/>
        <a:p>
          <a:endParaRPr lang="ru-RU"/>
        </a:p>
      </dgm:t>
    </dgm:pt>
    <dgm:pt modelId="{1CB0373E-1785-40E9-A8FF-58254517C1F7}" type="sibTrans" cxnId="{50DFB2AD-2E4B-42C7-9444-5A46F9FFF181}">
      <dgm:prSet/>
      <dgm:spPr/>
      <dgm:t>
        <a:bodyPr/>
        <a:lstStyle/>
        <a:p>
          <a:endParaRPr lang="ru-RU"/>
        </a:p>
      </dgm:t>
    </dgm:pt>
    <dgm:pt modelId="{46FE8D43-ED50-4D64-A8E7-BB688574E1CC}">
      <dgm:prSet phldrT="[Текст]" custT="1"/>
      <dgm:spPr/>
      <dgm:t>
        <a:bodyPr/>
        <a:lstStyle/>
        <a:p>
          <a:r>
            <a:rPr lang="ru-RU" sz="2000" dirty="0" smtClean="0"/>
            <a:t>Развивающую познавательные возможности</a:t>
          </a:r>
          <a:endParaRPr lang="ru-RU" sz="2000" dirty="0"/>
        </a:p>
      </dgm:t>
    </dgm:pt>
    <dgm:pt modelId="{A0323E5B-CF00-4FAE-998F-4114F7E740C4}" type="parTrans" cxnId="{02A04735-5095-4E01-AF97-8FD079DD7A95}">
      <dgm:prSet/>
      <dgm:spPr/>
      <dgm:t>
        <a:bodyPr/>
        <a:lstStyle/>
        <a:p>
          <a:endParaRPr lang="ru-RU"/>
        </a:p>
      </dgm:t>
    </dgm:pt>
    <dgm:pt modelId="{65BEC7E4-A4A5-424E-9FE6-16C617AB5EFD}" type="sibTrans" cxnId="{02A04735-5095-4E01-AF97-8FD079DD7A95}">
      <dgm:prSet/>
      <dgm:spPr/>
      <dgm:t>
        <a:bodyPr/>
        <a:lstStyle/>
        <a:p>
          <a:endParaRPr lang="ru-RU"/>
        </a:p>
      </dgm:t>
    </dgm:pt>
    <dgm:pt modelId="{0E4DDD16-F2B3-4941-8EBE-9D67EE2A3440}">
      <dgm:prSet phldrT="[Текст]" custT="1"/>
      <dgm:spPr/>
      <dgm:t>
        <a:bodyPr/>
        <a:lstStyle/>
        <a:p>
          <a:r>
            <a:rPr lang="ru-RU" sz="2000" dirty="0" smtClean="0"/>
            <a:t>Координирующую </a:t>
          </a:r>
          <a:endParaRPr lang="ru-RU" sz="2000" dirty="0"/>
        </a:p>
      </dgm:t>
    </dgm:pt>
    <dgm:pt modelId="{3DDD3023-BCD0-46BC-9D45-2B93293D7DC0}" type="parTrans" cxnId="{EEF39352-3A87-4AE1-AE90-7DCE9B304832}">
      <dgm:prSet/>
      <dgm:spPr/>
      <dgm:t>
        <a:bodyPr/>
        <a:lstStyle/>
        <a:p>
          <a:endParaRPr lang="ru-RU"/>
        </a:p>
      </dgm:t>
    </dgm:pt>
    <dgm:pt modelId="{1EC66119-3B6F-496C-ACEC-AE4E31BF7AED}" type="sibTrans" cxnId="{EEF39352-3A87-4AE1-AE90-7DCE9B304832}">
      <dgm:prSet/>
      <dgm:spPr/>
      <dgm:t>
        <a:bodyPr/>
        <a:lstStyle/>
        <a:p>
          <a:endParaRPr lang="ru-RU"/>
        </a:p>
      </dgm:t>
    </dgm:pt>
    <dgm:pt modelId="{7BE805F4-6350-4F2E-8F77-47EAD7B43D81}" type="pres">
      <dgm:prSet presAssocID="{1ACC9CD4-5793-4DD2-9056-2E7458EE5FF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24865CF-FD13-4EF0-B260-F1A003102AC6}" type="pres">
      <dgm:prSet presAssocID="{1ACC9CD4-5793-4DD2-9056-2E7458EE5FF0}" presName="cycle" presStyleCnt="0"/>
      <dgm:spPr/>
      <dgm:t>
        <a:bodyPr/>
        <a:lstStyle/>
        <a:p>
          <a:endParaRPr lang="ru-RU"/>
        </a:p>
      </dgm:t>
    </dgm:pt>
    <dgm:pt modelId="{2A33519F-3425-4040-B644-58EF664199F6}" type="pres">
      <dgm:prSet presAssocID="{197B9BB7-BA20-4149-BFCE-4D4515675CE4}" presName="nodeFirs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010AC9-FE6E-4879-8F46-27B78667A877}" type="pres">
      <dgm:prSet presAssocID="{9821A15F-80A9-47B3-B345-43CBDFB80FDD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F7639E42-CC27-4DE4-8762-20886AFED079}" type="pres">
      <dgm:prSet presAssocID="{2BD5A41C-0186-4F52-95C3-00CA053ED488}" presName="nodeFollowingNodes" presStyleLbl="node1" presStyleIdx="1" presStyleCnt="5" custScaleX="116664" custRadScaleRad="123678" custRadScaleInc="600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6B9D25-F9AE-43FA-8580-832FF3CE6EEC}" type="pres">
      <dgm:prSet presAssocID="{4E897F28-3576-437C-8DC2-619961977C89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802CD4-5609-4464-B5DC-8625485779DF}" type="pres">
      <dgm:prSet presAssocID="{46FE8D43-ED50-4D64-A8E7-BB688574E1CC}" presName="nodeFollowingNodes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90A1D9-CC4E-4AB5-8666-24D80DACDFA2}" type="pres">
      <dgm:prSet presAssocID="{0E4DDD16-F2B3-4941-8EBE-9D67EE2A3440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E3FF682-96CD-4EE3-AFB4-613B19287D77}" srcId="{1ACC9CD4-5793-4DD2-9056-2E7458EE5FF0}" destId="{197B9BB7-BA20-4149-BFCE-4D4515675CE4}" srcOrd="0" destOrd="0" parTransId="{66C8B64C-3FAB-4F41-9444-1428EC5904E0}" sibTransId="{9821A15F-80A9-47B3-B345-43CBDFB80FDD}"/>
    <dgm:cxn modelId="{62C59606-08A1-441F-9116-982AA6313844}" type="presOf" srcId="{46FE8D43-ED50-4D64-A8E7-BB688574E1CC}" destId="{59802CD4-5609-4464-B5DC-8625485779DF}" srcOrd="0" destOrd="0" presId="urn:microsoft.com/office/officeart/2005/8/layout/cycle3"/>
    <dgm:cxn modelId="{EEF39352-3A87-4AE1-AE90-7DCE9B304832}" srcId="{1ACC9CD4-5793-4DD2-9056-2E7458EE5FF0}" destId="{0E4DDD16-F2B3-4941-8EBE-9D67EE2A3440}" srcOrd="4" destOrd="0" parTransId="{3DDD3023-BCD0-46BC-9D45-2B93293D7DC0}" sibTransId="{1EC66119-3B6F-496C-ACEC-AE4E31BF7AED}"/>
    <dgm:cxn modelId="{7B316EA5-A2C9-477A-8023-92D2DB0F2879}" srcId="{1ACC9CD4-5793-4DD2-9056-2E7458EE5FF0}" destId="{2BD5A41C-0186-4F52-95C3-00CA053ED488}" srcOrd="1" destOrd="0" parTransId="{31D34780-49A1-48F1-BC0E-001F1FB5DC13}" sibTransId="{DC04799A-F71C-4651-917A-DD138CDDC329}"/>
    <dgm:cxn modelId="{B6D36FCF-E1C5-4D43-BD80-D9B113FA35AD}" type="presOf" srcId="{1ACC9CD4-5793-4DD2-9056-2E7458EE5FF0}" destId="{7BE805F4-6350-4F2E-8F77-47EAD7B43D81}" srcOrd="0" destOrd="0" presId="urn:microsoft.com/office/officeart/2005/8/layout/cycle3"/>
    <dgm:cxn modelId="{02A04735-5095-4E01-AF97-8FD079DD7A95}" srcId="{1ACC9CD4-5793-4DD2-9056-2E7458EE5FF0}" destId="{46FE8D43-ED50-4D64-A8E7-BB688574E1CC}" srcOrd="3" destOrd="0" parTransId="{A0323E5B-CF00-4FAE-998F-4114F7E740C4}" sibTransId="{65BEC7E4-A4A5-424E-9FE6-16C617AB5EFD}"/>
    <dgm:cxn modelId="{CA2D19B1-026F-4D1E-99F6-0D63487E8212}" type="presOf" srcId="{0E4DDD16-F2B3-4941-8EBE-9D67EE2A3440}" destId="{E390A1D9-CC4E-4AB5-8666-24D80DACDFA2}" srcOrd="0" destOrd="0" presId="urn:microsoft.com/office/officeart/2005/8/layout/cycle3"/>
    <dgm:cxn modelId="{50DFB2AD-2E4B-42C7-9444-5A46F9FFF181}" srcId="{1ACC9CD4-5793-4DD2-9056-2E7458EE5FF0}" destId="{4E897F28-3576-437C-8DC2-619961977C89}" srcOrd="2" destOrd="0" parTransId="{8DD5F2BF-A12C-4251-8341-216121CCE5C7}" sibTransId="{1CB0373E-1785-40E9-A8FF-58254517C1F7}"/>
    <dgm:cxn modelId="{66EB167B-4553-4D69-BB41-332785326548}" type="presOf" srcId="{9821A15F-80A9-47B3-B345-43CBDFB80FDD}" destId="{DB010AC9-FE6E-4879-8F46-27B78667A877}" srcOrd="0" destOrd="0" presId="urn:microsoft.com/office/officeart/2005/8/layout/cycle3"/>
    <dgm:cxn modelId="{15382154-779A-4C13-B8E0-33F3B2159E40}" type="presOf" srcId="{4E897F28-3576-437C-8DC2-619961977C89}" destId="{866B9D25-F9AE-43FA-8580-832FF3CE6EEC}" srcOrd="0" destOrd="0" presId="urn:microsoft.com/office/officeart/2005/8/layout/cycle3"/>
    <dgm:cxn modelId="{C9B7EE5D-D022-46BC-B9AF-71868502AC81}" type="presOf" srcId="{197B9BB7-BA20-4149-BFCE-4D4515675CE4}" destId="{2A33519F-3425-4040-B644-58EF664199F6}" srcOrd="0" destOrd="0" presId="urn:microsoft.com/office/officeart/2005/8/layout/cycle3"/>
    <dgm:cxn modelId="{17B7B94C-63E6-4602-A333-A51C603C2CD5}" type="presOf" srcId="{2BD5A41C-0186-4F52-95C3-00CA053ED488}" destId="{F7639E42-CC27-4DE4-8762-20886AFED079}" srcOrd="0" destOrd="0" presId="urn:microsoft.com/office/officeart/2005/8/layout/cycle3"/>
    <dgm:cxn modelId="{8BD8B0AF-1B47-40C1-B6D1-39625A6A1434}" type="presParOf" srcId="{7BE805F4-6350-4F2E-8F77-47EAD7B43D81}" destId="{124865CF-FD13-4EF0-B260-F1A003102AC6}" srcOrd="0" destOrd="0" presId="urn:microsoft.com/office/officeart/2005/8/layout/cycle3"/>
    <dgm:cxn modelId="{CA0E3BB5-38B2-40DC-A221-2F71CB6AAA36}" type="presParOf" srcId="{124865CF-FD13-4EF0-B260-F1A003102AC6}" destId="{2A33519F-3425-4040-B644-58EF664199F6}" srcOrd="0" destOrd="0" presId="urn:microsoft.com/office/officeart/2005/8/layout/cycle3"/>
    <dgm:cxn modelId="{B1DE9992-C4D5-4979-B882-99FF54C729A4}" type="presParOf" srcId="{124865CF-FD13-4EF0-B260-F1A003102AC6}" destId="{DB010AC9-FE6E-4879-8F46-27B78667A877}" srcOrd="1" destOrd="0" presId="urn:microsoft.com/office/officeart/2005/8/layout/cycle3"/>
    <dgm:cxn modelId="{C9D7C657-9824-44EF-BA79-CF2B8E23987E}" type="presParOf" srcId="{124865CF-FD13-4EF0-B260-F1A003102AC6}" destId="{F7639E42-CC27-4DE4-8762-20886AFED079}" srcOrd="2" destOrd="0" presId="urn:microsoft.com/office/officeart/2005/8/layout/cycle3"/>
    <dgm:cxn modelId="{B397B984-C61D-494C-B13D-F8D4B9F78D63}" type="presParOf" srcId="{124865CF-FD13-4EF0-B260-F1A003102AC6}" destId="{866B9D25-F9AE-43FA-8580-832FF3CE6EEC}" srcOrd="3" destOrd="0" presId="urn:microsoft.com/office/officeart/2005/8/layout/cycle3"/>
    <dgm:cxn modelId="{BB8A8B45-5F61-44F3-8A4A-E2424885453A}" type="presParOf" srcId="{124865CF-FD13-4EF0-B260-F1A003102AC6}" destId="{59802CD4-5609-4464-B5DC-8625485779DF}" srcOrd="4" destOrd="0" presId="urn:microsoft.com/office/officeart/2005/8/layout/cycle3"/>
    <dgm:cxn modelId="{671D7AA1-E481-45BE-9ED8-77CAC925ABCB}" type="presParOf" srcId="{124865CF-FD13-4EF0-B260-F1A003102AC6}" destId="{E390A1D9-CC4E-4AB5-8666-24D80DACDFA2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D72F516-1A48-463A-A180-D0CCDD1919BC}" type="doc">
      <dgm:prSet loTypeId="urn:microsoft.com/office/officeart/2005/8/layout/vList2" loCatId="list" qsTypeId="urn:microsoft.com/office/officeart/2005/8/quickstyle/simple3" qsCatId="simple" csTypeId="urn:microsoft.com/office/officeart/2005/8/colors/colorful1#2" csCatId="colorful" phldr="1"/>
      <dgm:spPr/>
      <dgm:t>
        <a:bodyPr/>
        <a:lstStyle/>
        <a:p>
          <a:endParaRPr lang="ru-RU"/>
        </a:p>
      </dgm:t>
    </dgm:pt>
    <dgm:pt modelId="{4FC5C0E5-78FB-473D-B9D4-0280C21B8E1B}">
      <dgm:prSet custT="1"/>
      <dgm:spPr/>
      <dgm:t>
        <a:bodyPr/>
        <a:lstStyle/>
        <a:p>
          <a:pPr rtl="0"/>
          <a:r>
            <a:rPr lang="ru-RU" sz="1600" dirty="0" smtClean="0"/>
            <a:t>Во время урока – на интерактивной доске, в том числе вместе с бумажным учебником</a:t>
          </a:r>
          <a:endParaRPr lang="ru-RU" sz="1600" dirty="0"/>
        </a:p>
      </dgm:t>
    </dgm:pt>
    <dgm:pt modelId="{9630C7CD-0031-4E7C-8A88-DA02F30DD48A}" type="parTrans" cxnId="{42611CD4-2113-4463-8ABB-B2D5DEE04721}">
      <dgm:prSet/>
      <dgm:spPr/>
      <dgm:t>
        <a:bodyPr/>
        <a:lstStyle/>
        <a:p>
          <a:endParaRPr lang="ru-RU"/>
        </a:p>
      </dgm:t>
    </dgm:pt>
    <dgm:pt modelId="{53804269-CCA4-4E73-A37B-D1F49B768B5B}" type="sibTrans" cxnId="{42611CD4-2113-4463-8ABB-B2D5DEE04721}">
      <dgm:prSet/>
      <dgm:spPr/>
      <dgm:t>
        <a:bodyPr/>
        <a:lstStyle/>
        <a:p>
          <a:endParaRPr lang="ru-RU"/>
        </a:p>
      </dgm:t>
    </dgm:pt>
    <dgm:pt modelId="{AE533773-F740-4FAA-AAF0-E816AB2DDB22}">
      <dgm:prSet custT="1"/>
      <dgm:spPr/>
      <dgm:t>
        <a:bodyPr/>
        <a:lstStyle/>
        <a:p>
          <a:pPr rtl="0"/>
          <a:r>
            <a:rPr lang="ru-RU" sz="2000" dirty="0" smtClean="0"/>
            <a:t>Во время урока – вместо бумажных учебников</a:t>
          </a:r>
          <a:endParaRPr lang="ru-RU" sz="2000" dirty="0"/>
        </a:p>
      </dgm:t>
    </dgm:pt>
    <dgm:pt modelId="{39402BB6-FC9F-45D2-B607-52F2AAF8427E}" type="parTrans" cxnId="{F66F5F36-4B3B-4A81-8FEB-B6128C2D9F14}">
      <dgm:prSet/>
      <dgm:spPr/>
      <dgm:t>
        <a:bodyPr/>
        <a:lstStyle/>
        <a:p>
          <a:endParaRPr lang="ru-RU"/>
        </a:p>
      </dgm:t>
    </dgm:pt>
    <dgm:pt modelId="{2735F328-9E4B-4536-905C-B40E8C57772B}" type="sibTrans" cxnId="{F66F5F36-4B3B-4A81-8FEB-B6128C2D9F14}">
      <dgm:prSet/>
      <dgm:spPr/>
      <dgm:t>
        <a:bodyPr/>
        <a:lstStyle/>
        <a:p>
          <a:endParaRPr lang="ru-RU"/>
        </a:p>
      </dgm:t>
    </dgm:pt>
    <dgm:pt modelId="{D29CF65B-BCAA-4DAA-8EB5-D64660E7E1BB}">
      <dgm:prSet custT="1"/>
      <dgm:spPr/>
      <dgm:t>
        <a:bodyPr/>
        <a:lstStyle/>
        <a:p>
          <a:pPr rtl="0"/>
          <a:r>
            <a:rPr lang="ru-RU" sz="2000" dirty="0" smtClean="0"/>
            <a:t>Дома – вместо бумажных учебников</a:t>
          </a:r>
          <a:endParaRPr lang="ru-RU" sz="2000" dirty="0"/>
        </a:p>
      </dgm:t>
    </dgm:pt>
    <dgm:pt modelId="{950C9805-EBBA-4CE6-BDBD-5DA7CBE8E218}" type="parTrans" cxnId="{BBACCE60-3C1D-4F59-8E9E-F616F766AB09}">
      <dgm:prSet/>
      <dgm:spPr/>
      <dgm:t>
        <a:bodyPr/>
        <a:lstStyle/>
        <a:p>
          <a:endParaRPr lang="ru-RU"/>
        </a:p>
      </dgm:t>
    </dgm:pt>
    <dgm:pt modelId="{E45D9064-CD0F-47FE-9FE4-9B06CAAE193E}" type="sibTrans" cxnId="{BBACCE60-3C1D-4F59-8E9E-F616F766AB09}">
      <dgm:prSet/>
      <dgm:spPr/>
      <dgm:t>
        <a:bodyPr/>
        <a:lstStyle/>
        <a:p>
          <a:endParaRPr lang="ru-RU"/>
        </a:p>
      </dgm:t>
    </dgm:pt>
    <dgm:pt modelId="{C5A3B02B-2F5E-41E2-9776-D704A3A57EAC}">
      <dgm:prSet custT="1"/>
      <dgm:spPr/>
      <dgm:t>
        <a:bodyPr/>
        <a:lstStyle/>
        <a:p>
          <a:pPr rtl="0"/>
          <a:r>
            <a:rPr lang="ru-RU" sz="2000" dirty="0" smtClean="0"/>
            <a:t>В нестандартных ситуациях – вместо бумажного учебника</a:t>
          </a:r>
          <a:endParaRPr lang="ru-RU" sz="2000" dirty="0"/>
        </a:p>
      </dgm:t>
    </dgm:pt>
    <dgm:pt modelId="{ED657C01-6944-4785-8E45-A4A26F5A3750}" type="sibTrans" cxnId="{E3B90B3A-6952-4B7E-BD7B-45C0F199D807}">
      <dgm:prSet/>
      <dgm:spPr/>
      <dgm:t>
        <a:bodyPr/>
        <a:lstStyle/>
        <a:p>
          <a:endParaRPr lang="ru-RU"/>
        </a:p>
      </dgm:t>
    </dgm:pt>
    <dgm:pt modelId="{371FE41C-9C5F-443C-A991-5F6ED72EB8AA}" type="parTrans" cxnId="{E3B90B3A-6952-4B7E-BD7B-45C0F199D807}">
      <dgm:prSet/>
      <dgm:spPr/>
      <dgm:t>
        <a:bodyPr/>
        <a:lstStyle/>
        <a:p>
          <a:endParaRPr lang="ru-RU"/>
        </a:p>
      </dgm:t>
    </dgm:pt>
    <dgm:pt modelId="{2F27ED72-8F7B-4A95-B930-20B4FFBCCE7C}" type="pres">
      <dgm:prSet presAssocID="{9D72F516-1A48-463A-A180-D0CCDD1919B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B5795AA-64C7-4DBF-BC13-D2E1CEB7F344}" type="pres">
      <dgm:prSet presAssocID="{4FC5C0E5-78FB-473D-B9D4-0280C21B8E1B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8E99DF-9066-40C8-9D78-C8722A972D17}" type="pres">
      <dgm:prSet presAssocID="{53804269-CCA4-4E73-A37B-D1F49B768B5B}" presName="spacer" presStyleCnt="0"/>
      <dgm:spPr/>
      <dgm:t>
        <a:bodyPr/>
        <a:lstStyle/>
        <a:p>
          <a:endParaRPr lang="ru-RU"/>
        </a:p>
      </dgm:t>
    </dgm:pt>
    <dgm:pt modelId="{1FBCC10E-4B6B-4830-8757-BEF522276966}" type="pres">
      <dgm:prSet presAssocID="{AE533773-F740-4FAA-AAF0-E816AB2DDB22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DF825B-062E-44CF-BDB9-2A0038371781}" type="pres">
      <dgm:prSet presAssocID="{2735F328-9E4B-4536-905C-B40E8C57772B}" presName="spacer" presStyleCnt="0"/>
      <dgm:spPr/>
      <dgm:t>
        <a:bodyPr/>
        <a:lstStyle/>
        <a:p>
          <a:endParaRPr lang="ru-RU"/>
        </a:p>
      </dgm:t>
    </dgm:pt>
    <dgm:pt modelId="{8C094620-F73F-4B66-B2E9-D5CF16F8CF84}" type="pres">
      <dgm:prSet presAssocID="{D29CF65B-BCAA-4DAA-8EB5-D64660E7E1BB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2FEAE6-CDB9-4123-8056-C6939E6AD42E}" type="pres">
      <dgm:prSet presAssocID="{E45D9064-CD0F-47FE-9FE4-9B06CAAE193E}" presName="spacer" presStyleCnt="0"/>
      <dgm:spPr/>
      <dgm:t>
        <a:bodyPr/>
        <a:lstStyle/>
        <a:p>
          <a:endParaRPr lang="ru-RU"/>
        </a:p>
      </dgm:t>
    </dgm:pt>
    <dgm:pt modelId="{5BBEC9BE-7C9F-4B6F-9AFC-5507578A44C5}" type="pres">
      <dgm:prSet presAssocID="{C5A3B02B-2F5E-41E2-9776-D704A3A57EAC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BACCE60-3C1D-4F59-8E9E-F616F766AB09}" srcId="{9D72F516-1A48-463A-A180-D0CCDD1919BC}" destId="{D29CF65B-BCAA-4DAA-8EB5-D64660E7E1BB}" srcOrd="2" destOrd="0" parTransId="{950C9805-EBBA-4CE6-BDBD-5DA7CBE8E218}" sibTransId="{E45D9064-CD0F-47FE-9FE4-9B06CAAE193E}"/>
    <dgm:cxn modelId="{E3B90B3A-6952-4B7E-BD7B-45C0F199D807}" srcId="{9D72F516-1A48-463A-A180-D0CCDD1919BC}" destId="{C5A3B02B-2F5E-41E2-9776-D704A3A57EAC}" srcOrd="3" destOrd="0" parTransId="{371FE41C-9C5F-443C-A991-5F6ED72EB8AA}" sibTransId="{ED657C01-6944-4785-8E45-A4A26F5A3750}"/>
    <dgm:cxn modelId="{27384AA8-CCC7-4F52-83D9-C7BB91FF4F91}" type="presOf" srcId="{D29CF65B-BCAA-4DAA-8EB5-D64660E7E1BB}" destId="{8C094620-F73F-4B66-B2E9-D5CF16F8CF84}" srcOrd="0" destOrd="0" presId="urn:microsoft.com/office/officeart/2005/8/layout/vList2"/>
    <dgm:cxn modelId="{C67928D5-CDBC-4B4B-99FE-89E64BA00FE6}" type="presOf" srcId="{AE533773-F740-4FAA-AAF0-E816AB2DDB22}" destId="{1FBCC10E-4B6B-4830-8757-BEF522276966}" srcOrd="0" destOrd="0" presId="urn:microsoft.com/office/officeart/2005/8/layout/vList2"/>
    <dgm:cxn modelId="{0B63290D-452E-4161-B807-307FA16CE80A}" type="presOf" srcId="{4FC5C0E5-78FB-473D-B9D4-0280C21B8E1B}" destId="{1B5795AA-64C7-4DBF-BC13-D2E1CEB7F344}" srcOrd="0" destOrd="0" presId="urn:microsoft.com/office/officeart/2005/8/layout/vList2"/>
    <dgm:cxn modelId="{42611CD4-2113-4463-8ABB-B2D5DEE04721}" srcId="{9D72F516-1A48-463A-A180-D0CCDD1919BC}" destId="{4FC5C0E5-78FB-473D-B9D4-0280C21B8E1B}" srcOrd="0" destOrd="0" parTransId="{9630C7CD-0031-4E7C-8A88-DA02F30DD48A}" sibTransId="{53804269-CCA4-4E73-A37B-D1F49B768B5B}"/>
    <dgm:cxn modelId="{CD180379-8DBB-4C4E-8106-DC821FA4FD93}" type="presOf" srcId="{C5A3B02B-2F5E-41E2-9776-D704A3A57EAC}" destId="{5BBEC9BE-7C9F-4B6F-9AFC-5507578A44C5}" srcOrd="0" destOrd="0" presId="urn:microsoft.com/office/officeart/2005/8/layout/vList2"/>
    <dgm:cxn modelId="{544113B1-317C-4716-AAD2-B004145F0E53}" type="presOf" srcId="{9D72F516-1A48-463A-A180-D0CCDD1919BC}" destId="{2F27ED72-8F7B-4A95-B930-20B4FFBCCE7C}" srcOrd="0" destOrd="0" presId="urn:microsoft.com/office/officeart/2005/8/layout/vList2"/>
    <dgm:cxn modelId="{F66F5F36-4B3B-4A81-8FEB-B6128C2D9F14}" srcId="{9D72F516-1A48-463A-A180-D0CCDD1919BC}" destId="{AE533773-F740-4FAA-AAF0-E816AB2DDB22}" srcOrd="1" destOrd="0" parTransId="{39402BB6-FC9F-45D2-B607-52F2AAF8427E}" sibTransId="{2735F328-9E4B-4536-905C-B40E8C57772B}"/>
    <dgm:cxn modelId="{240E7227-2827-42C0-A440-73F5C9918F72}" type="presParOf" srcId="{2F27ED72-8F7B-4A95-B930-20B4FFBCCE7C}" destId="{1B5795AA-64C7-4DBF-BC13-D2E1CEB7F344}" srcOrd="0" destOrd="0" presId="urn:microsoft.com/office/officeart/2005/8/layout/vList2"/>
    <dgm:cxn modelId="{2D04769E-A8A1-481B-B057-56910AB89BAD}" type="presParOf" srcId="{2F27ED72-8F7B-4A95-B930-20B4FFBCCE7C}" destId="{6D8E99DF-9066-40C8-9D78-C8722A972D17}" srcOrd="1" destOrd="0" presId="urn:microsoft.com/office/officeart/2005/8/layout/vList2"/>
    <dgm:cxn modelId="{8C90A978-D9A1-45BF-9155-8BC2622D35DC}" type="presParOf" srcId="{2F27ED72-8F7B-4A95-B930-20B4FFBCCE7C}" destId="{1FBCC10E-4B6B-4830-8757-BEF522276966}" srcOrd="2" destOrd="0" presId="urn:microsoft.com/office/officeart/2005/8/layout/vList2"/>
    <dgm:cxn modelId="{A8B803CC-563A-4B10-B201-72C61D17E117}" type="presParOf" srcId="{2F27ED72-8F7B-4A95-B930-20B4FFBCCE7C}" destId="{6BDF825B-062E-44CF-BDB9-2A0038371781}" srcOrd="3" destOrd="0" presId="urn:microsoft.com/office/officeart/2005/8/layout/vList2"/>
    <dgm:cxn modelId="{6E533C68-9348-4637-9C54-7DBB42FA1727}" type="presParOf" srcId="{2F27ED72-8F7B-4A95-B930-20B4FFBCCE7C}" destId="{8C094620-F73F-4B66-B2E9-D5CF16F8CF84}" srcOrd="4" destOrd="0" presId="urn:microsoft.com/office/officeart/2005/8/layout/vList2"/>
    <dgm:cxn modelId="{03CED0DF-E338-4605-B101-1A744C2D6541}" type="presParOf" srcId="{2F27ED72-8F7B-4A95-B930-20B4FFBCCE7C}" destId="{F32FEAE6-CDB9-4123-8056-C6939E6AD42E}" srcOrd="5" destOrd="0" presId="urn:microsoft.com/office/officeart/2005/8/layout/vList2"/>
    <dgm:cxn modelId="{E3CFDCB7-B28F-47BA-80B4-BAD9823A520F}" type="presParOf" srcId="{2F27ED72-8F7B-4A95-B930-20B4FFBCCE7C}" destId="{5BBEC9BE-7C9F-4B6F-9AFC-5507578A44C5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D72F516-1A48-463A-A180-D0CCDD1919BC}" type="doc">
      <dgm:prSet loTypeId="urn:microsoft.com/office/officeart/2005/8/layout/vList2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AE533773-F740-4FAA-AAF0-E816AB2DDB22}">
      <dgm:prSet/>
      <dgm:spPr/>
      <dgm:t>
        <a:bodyPr/>
        <a:lstStyle/>
        <a:p>
          <a:pPr rtl="0"/>
          <a:r>
            <a:rPr lang="ru-RU" dirty="0" smtClean="0"/>
            <a:t>Создание закладок и заметок</a:t>
          </a:r>
          <a:endParaRPr lang="ru-RU" dirty="0"/>
        </a:p>
      </dgm:t>
    </dgm:pt>
    <dgm:pt modelId="{39402BB6-FC9F-45D2-B607-52F2AAF8427E}" type="parTrans" cxnId="{F66F5F36-4B3B-4A81-8FEB-B6128C2D9F14}">
      <dgm:prSet/>
      <dgm:spPr/>
      <dgm:t>
        <a:bodyPr/>
        <a:lstStyle/>
        <a:p>
          <a:endParaRPr lang="ru-RU"/>
        </a:p>
      </dgm:t>
    </dgm:pt>
    <dgm:pt modelId="{2735F328-9E4B-4536-905C-B40E8C57772B}" type="sibTrans" cxnId="{F66F5F36-4B3B-4A81-8FEB-B6128C2D9F14}">
      <dgm:prSet/>
      <dgm:spPr/>
      <dgm:t>
        <a:bodyPr/>
        <a:lstStyle/>
        <a:p>
          <a:endParaRPr lang="ru-RU"/>
        </a:p>
      </dgm:t>
    </dgm:pt>
    <dgm:pt modelId="{D29CF65B-BCAA-4DAA-8EB5-D64660E7E1BB}">
      <dgm:prSet/>
      <dgm:spPr/>
      <dgm:t>
        <a:bodyPr/>
        <a:lstStyle/>
        <a:p>
          <a:pPr rtl="0"/>
          <a:r>
            <a:rPr lang="ru-RU" dirty="0" smtClean="0"/>
            <a:t>Возможность адаптации шрифта</a:t>
          </a:r>
          <a:endParaRPr lang="ru-RU" dirty="0"/>
        </a:p>
      </dgm:t>
    </dgm:pt>
    <dgm:pt modelId="{950C9805-EBBA-4CE6-BDBD-5DA7CBE8E218}" type="parTrans" cxnId="{BBACCE60-3C1D-4F59-8E9E-F616F766AB09}">
      <dgm:prSet/>
      <dgm:spPr/>
      <dgm:t>
        <a:bodyPr/>
        <a:lstStyle/>
        <a:p>
          <a:endParaRPr lang="ru-RU"/>
        </a:p>
      </dgm:t>
    </dgm:pt>
    <dgm:pt modelId="{E45D9064-CD0F-47FE-9FE4-9B06CAAE193E}" type="sibTrans" cxnId="{BBACCE60-3C1D-4F59-8E9E-F616F766AB09}">
      <dgm:prSet/>
      <dgm:spPr/>
      <dgm:t>
        <a:bodyPr/>
        <a:lstStyle/>
        <a:p>
          <a:endParaRPr lang="ru-RU"/>
        </a:p>
      </dgm:t>
    </dgm:pt>
    <dgm:pt modelId="{C5A3B02B-2F5E-41E2-9776-D704A3A57EAC}">
      <dgm:prSet/>
      <dgm:spPr/>
      <dgm:t>
        <a:bodyPr/>
        <a:lstStyle/>
        <a:p>
          <a:pPr rtl="0"/>
          <a:r>
            <a:rPr lang="ru-RU" dirty="0" smtClean="0"/>
            <a:t>Поиск по тексту</a:t>
          </a:r>
          <a:endParaRPr lang="ru-RU" dirty="0"/>
        </a:p>
      </dgm:t>
    </dgm:pt>
    <dgm:pt modelId="{371FE41C-9C5F-443C-A991-5F6ED72EB8AA}" type="parTrans" cxnId="{E3B90B3A-6952-4B7E-BD7B-45C0F199D807}">
      <dgm:prSet/>
      <dgm:spPr/>
      <dgm:t>
        <a:bodyPr/>
        <a:lstStyle/>
        <a:p>
          <a:endParaRPr lang="ru-RU"/>
        </a:p>
      </dgm:t>
    </dgm:pt>
    <dgm:pt modelId="{ED657C01-6944-4785-8E45-A4A26F5A3750}" type="sibTrans" cxnId="{E3B90B3A-6952-4B7E-BD7B-45C0F199D807}">
      <dgm:prSet/>
      <dgm:spPr/>
      <dgm:t>
        <a:bodyPr/>
        <a:lstStyle/>
        <a:p>
          <a:endParaRPr lang="ru-RU"/>
        </a:p>
      </dgm:t>
    </dgm:pt>
    <dgm:pt modelId="{4FC5C0E5-78FB-473D-B9D4-0280C21B8E1B}">
      <dgm:prSet/>
      <dgm:spPr/>
      <dgm:t>
        <a:bodyPr/>
        <a:lstStyle/>
        <a:p>
          <a:pPr rtl="0"/>
          <a:r>
            <a:rPr lang="ru-RU" dirty="0" smtClean="0"/>
            <a:t>Быстрый переход к нужной странице</a:t>
          </a:r>
          <a:endParaRPr lang="ru-RU" dirty="0"/>
        </a:p>
      </dgm:t>
    </dgm:pt>
    <dgm:pt modelId="{53804269-CCA4-4E73-A37B-D1F49B768B5B}" type="sibTrans" cxnId="{42611CD4-2113-4463-8ABB-B2D5DEE04721}">
      <dgm:prSet/>
      <dgm:spPr/>
      <dgm:t>
        <a:bodyPr/>
        <a:lstStyle/>
        <a:p>
          <a:endParaRPr lang="ru-RU"/>
        </a:p>
      </dgm:t>
    </dgm:pt>
    <dgm:pt modelId="{9630C7CD-0031-4E7C-8A88-DA02F30DD48A}" type="parTrans" cxnId="{42611CD4-2113-4463-8ABB-B2D5DEE04721}">
      <dgm:prSet/>
      <dgm:spPr/>
      <dgm:t>
        <a:bodyPr/>
        <a:lstStyle/>
        <a:p>
          <a:endParaRPr lang="ru-RU"/>
        </a:p>
      </dgm:t>
    </dgm:pt>
    <dgm:pt modelId="{2F27ED72-8F7B-4A95-B930-20B4FFBCCE7C}" type="pres">
      <dgm:prSet presAssocID="{9D72F516-1A48-463A-A180-D0CCDD1919B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B5795AA-64C7-4DBF-BC13-D2E1CEB7F344}" type="pres">
      <dgm:prSet presAssocID="{4FC5C0E5-78FB-473D-B9D4-0280C21B8E1B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8E99DF-9066-40C8-9D78-C8722A972D17}" type="pres">
      <dgm:prSet presAssocID="{53804269-CCA4-4E73-A37B-D1F49B768B5B}" presName="spacer" presStyleCnt="0"/>
      <dgm:spPr/>
      <dgm:t>
        <a:bodyPr/>
        <a:lstStyle/>
        <a:p>
          <a:endParaRPr lang="ru-RU"/>
        </a:p>
      </dgm:t>
    </dgm:pt>
    <dgm:pt modelId="{1FBCC10E-4B6B-4830-8757-BEF522276966}" type="pres">
      <dgm:prSet presAssocID="{AE533773-F740-4FAA-AAF0-E816AB2DDB22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DF825B-062E-44CF-BDB9-2A0038371781}" type="pres">
      <dgm:prSet presAssocID="{2735F328-9E4B-4536-905C-B40E8C57772B}" presName="spacer" presStyleCnt="0"/>
      <dgm:spPr/>
      <dgm:t>
        <a:bodyPr/>
        <a:lstStyle/>
        <a:p>
          <a:endParaRPr lang="ru-RU"/>
        </a:p>
      </dgm:t>
    </dgm:pt>
    <dgm:pt modelId="{8C094620-F73F-4B66-B2E9-D5CF16F8CF84}" type="pres">
      <dgm:prSet presAssocID="{D29CF65B-BCAA-4DAA-8EB5-D64660E7E1BB}" presName="parentText" presStyleLbl="node1" presStyleIdx="2" presStyleCnt="4" custLinFactY="100000" custLinFactNeighborX="0" custLinFactNeighborY="1169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2FEAE6-CDB9-4123-8056-C6939E6AD42E}" type="pres">
      <dgm:prSet presAssocID="{E45D9064-CD0F-47FE-9FE4-9B06CAAE193E}" presName="spacer" presStyleCnt="0"/>
      <dgm:spPr/>
      <dgm:t>
        <a:bodyPr/>
        <a:lstStyle/>
        <a:p>
          <a:endParaRPr lang="ru-RU"/>
        </a:p>
      </dgm:t>
    </dgm:pt>
    <dgm:pt modelId="{5BBEC9BE-7C9F-4B6F-9AFC-5507578A44C5}" type="pres">
      <dgm:prSet presAssocID="{C5A3B02B-2F5E-41E2-9776-D704A3A57EAC}" presName="parentText" presStyleLbl="node1" presStyleIdx="3" presStyleCnt="4" custLinFactY="-99279" custLinFactNeighborX="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B7E2C20-DC1C-4A42-906E-947FDF3695AD}" type="presOf" srcId="{9D72F516-1A48-463A-A180-D0CCDD1919BC}" destId="{2F27ED72-8F7B-4A95-B930-20B4FFBCCE7C}" srcOrd="0" destOrd="0" presId="urn:microsoft.com/office/officeart/2005/8/layout/vList2"/>
    <dgm:cxn modelId="{BBACCE60-3C1D-4F59-8E9E-F616F766AB09}" srcId="{9D72F516-1A48-463A-A180-D0CCDD1919BC}" destId="{D29CF65B-BCAA-4DAA-8EB5-D64660E7E1BB}" srcOrd="2" destOrd="0" parTransId="{950C9805-EBBA-4CE6-BDBD-5DA7CBE8E218}" sibTransId="{E45D9064-CD0F-47FE-9FE4-9B06CAAE193E}"/>
    <dgm:cxn modelId="{E3B90B3A-6952-4B7E-BD7B-45C0F199D807}" srcId="{9D72F516-1A48-463A-A180-D0CCDD1919BC}" destId="{C5A3B02B-2F5E-41E2-9776-D704A3A57EAC}" srcOrd="3" destOrd="0" parTransId="{371FE41C-9C5F-443C-A991-5F6ED72EB8AA}" sibTransId="{ED657C01-6944-4785-8E45-A4A26F5A3750}"/>
    <dgm:cxn modelId="{B308EEAA-8139-409B-9377-42508CF42FDA}" type="presOf" srcId="{C5A3B02B-2F5E-41E2-9776-D704A3A57EAC}" destId="{5BBEC9BE-7C9F-4B6F-9AFC-5507578A44C5}" srcOrd="0" destOrd="0" presId="urn:microsoft.com/office/officeart/2005/8/layout/vList2"/>
    <dgm:cxn modelId="{42611CD4-2113-4463-8ABB-B2D5DEE04721}" srcId="{9D72F516-1A48-463A-A180-D0CCDD1919BC}" destId="{4FC5C0E5-78FB-473D-B9D4-0280C21B8E1B}" srcOrd="0" destOrd="0" parTransId="{9630C7CD-0031-4E7C-8A88-DA02F30DD48A}" sibTransId="{53804269-CCA4-4E73-A37B-D1F49B768B5B}"/>
    <dgm:cxn modelId="{754C1EA4-CE9D-46F4-870A-C5AE84F6C108}" type="presOf" srcId="{D29CF65B-BCAA-4DAA-8EB5-D64660E7E1BB}" destId="{8C094620-F73F-4B66-B2E9-D5CF16F8CF84}" srcOrd="0" destOrd="0" presId="urn:microsoft.com/office/officeart/2005/8/layout/vList2"/>
    <dgm:cxn modelId="{C3D3EEBB-D914-4764-B925-62C98F859EF5}" type="presOf" srcId="{AE533773-F740-4FAA-AAF0-E816AB2DDB22}" destId="{1FBCC10E-4B6B-4830-8757-BEF522276966}" srcOrd="0" destOrd="0" presId="urn:microsoft.com/office/officeart/2005/8/layout/vList2"/>
    <dgm:cxn modelId="{B961ECF1-B054-4E3C-B866-9E23A1B1CD0F}" type="presOf" srcId="{4FC5C0E5-78FB-473D-B9D4-0280C21B8E1B}" destId="{1B5795AA-64C7-4DBF-BC13-D2E1CEB7F344}" srcOrd="0" destOrd="0" presId="urn:microsoft.com/office/officeart/2005/8/layout/vList2"/>
    <dgm:cxn modelId="{F66F5F36-4B3B-4A81-8FEB-B6128C2D9F14}" srcId="{9D72F516-1A48-463A-A180-D0CCDD1919BC}" destId="{AE533773-F740-4FAA-AAF0-E816AB2DDB22}" srcOrd="1" destOrd="0" parTransId="{39402BB6-FC9F-45D2-B607-52F2AAF8427E}" sibTransId="{2735F328-9E4B-4536-905C-B40E8C57772B}"/>
    <dgm:cxn modelId="{35ABD15B-2606-46D9-B487-5C3E72C37BDA}" type="presParOf" srcId="{2F27ED72-8F7B-4A95-B930-20B4FFBCCE7C}" destId="{1B5795AA-64C7-4DBF-BC13-D2E1CEB7F344}" srcOrd="0" destOrd="0" presId="urn:microsoft.com/office/officeart/2005/8/layout/vList2"/>
    <dgm:cxn modelId="{BF417A8A-993A-4CC6-AB18-0F31E9495EAE}" type="presParOf" srcId="{2F27ED72-8F7B-4A95-B930-20B4FFBCCE7C}" destId="{6D8E99DF-9066-40C8-9D78-C8722A972D17}" srcOrd="1" destOrd="0" presId="urn:microsoft.com/office/officeart/2005/8/layout/vList2"/>
    <dgm:cxn modelId="{E4D98A94-FECB-41C7-92DD-BF9B46618C0B}" type="presParOf" srcId="{2F27ED72-8F7B-4A95-B930-20B4FFBCCE7C}" destId="{1FBCC10E-4B6B-4830-8757-BEF522276966}" srcOrd="2" destOrd="0" presId="urn:microsoft.com/office/officeart/2005/8/layout/vList2"/>
    <dgm:cxn modelId="{26F3D676-177B-49D4-9AA2-7CD4F68521B9}" type="presParOf" srcId="{2F27ED72-8F7B-4A95-B930-20B4FFBCCE7C}" destId="{6BDF825B-062E-44CF-BDB9-2A0038371781}" srcOrd="3" destOrd="0" presId="urn:microsoft.com/office/officeart/2005/8/layout/vList2"/>
    <dgm:cxn modelId="{13212DD7-5161-432B-A45B-52CD226BF4E7}" type="presParOf" srcId="{2F27ED72-8F7B-4A95-B930-20B4FFBCCE7C}" destId="{8C094620-F73F-4B66-B2E9-D5CF16F8CF84}" srcOrd="4" destOrd="0" presId="urn:microsoft.com/office/officeart/2005/8/layout/vList2"/>
    <dgm:cxn modelId="{B515F7CB-5A48-4E42-BE53-B5AE4C174A8F}" type="presParOf" srcId="{2F27ED72-8F7B-4A95-B930-20B4FFBCCE7C}" destId="{F32FEAE6-CDB9-4123-8056-C6939E6AD42E}" srcOrd="5" destOrd="0" presId="urn:microsoft.com/office/officeart/2005/8/layout/vList2"/>
    <dgm:cxn modelId="{391BA40B-9D30-4408-AE27-BDFCC8D7B01A}" type="presParOf" srcId="{2F27ED72-8F7B-4A95-B930-20B4FFBCCE7C}" destId="{5BBEC9BE-7C9F-4B6F-9AFC-5507578A44C5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7A3B6F2-B7E6-42ED-ABD7-B73CDE1C8EEC}" type="doc">
      <dgm:prSet loTypeId="urn:microsoft.com/office/officeart/2005/8/layout/chevron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AE433946-6C78-4BB7-AC48-FF5C7F66838D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565627A7-FD7A-433E-9C08-89BF275ACBEB}" type="parTrans" cxnId="{F2455DD7-1BD0-4A92-A1E6-3830ADDDB45B}">
      <dgm:prSet/>
      <dgm:spPr/>
      <dgm:t>
        <a:bodyPr/>
        <a:lstStyle/>
        <a:p>
          <a:endParaRPr lang="ru-RU"/>
        </a:p>
      </dgm:t>
    </dgm:pt>
    <dgm:pt modelId="{E0CD2A78-19E4-4B2A-93E9-F04F532088CD}" type="sibTrans" cxnId="{F2455DD7-1BD0-4A92-A1E6-3830ADDDB45B}">
      <dgm:prSet/>
      <dgm:spPr/>
      <dgm:t>
        <a:bodyPr/>
        <a:lstStyle/>
        <a:p>
          <a:endParaRPr lang="ru-RU"/>
        </a:p>
      </dgm:t>
    </dgm:pt>
    <dgm:pt modelId="{66171840-1CBE-4651-A581-07CA66384EB6}">
      <dgm:prSet phldrT="[Текст]" phldr="1"/>
      <dgm:spPr/>
      <dgm:t>
        <a:bodyPr/>
        <a:lstStyle/>
        <a:p>
          <a:pPr marL="228600" indent="0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2700" dirty="0"/>
        </a:p>
      </dgm:t>
    </dgm:pt>
    <dgm:pt modelId="{FA92A27F-5A49-43F3-AA33-98AACDF5C100}" type="parTrans" cxnId="{644724B5-ACD9-4EC7-9D72-11362D1474C7}">
      <dgm:prSet/>
      <dgm:spPr/>
      <dgm:t>
        <a:bodyPr/>
        <a:lstStyle/>
        <a:p>
          <a:endParaRPr lang="ru-RU"/>
        </a:p>
      </dgm:t>
    </dgm:pt>
    <dgm:pt modelId="{E9E2D333-B739-4731-84B7-FC35211FFC50}" type="sibTrans" cxnId="{644724B5-ACD9-4EC7-9D72-11362D1474C7}">
      <dgm:prSet/>
      <dgm:spPr/>
      <dgm:t>
        <a:bodyPr/>
        <a:lstStyle/>
        <a:p>
          <a:endParaRPr lang="ru-RU"/>
        </a:p>
      </dgm:t>
    </dgm:pt>
    <dgm:pt modelId="{4A5AEA9E-2FCF-42B9-B268-424C31B39EF5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1FE6A795-4652-49EE-A562-139EF91EF312}" type="parTrans" cxnId="{7411EB97-DA9E-40AA-9EEB-13BE6A8B0D9E}">
      <dgm:prSet/>
      <dgm:spPr/>
      <dgm:t>
        <a:bodyPr/>
        <a:lstStyle/>
        <a:p>
          <a:endParaRPr lang="ru-RU"/>
        </a:p>
      </dgm:t>
    </dgm:pt>
    <dgm:pt modelId="{970720A5-2CE0-4816-B722-F9EBC4ED7E13}" type="sibTrans" cxnId="{7411EB97-DA9E-40AA-9EEB-13BE6A8B0D9E}">
      <dgm:prSet/>
      <dgm:spPr/>
      <dgm:t>
        <a:bodyPr/>
        <a:lstStyle/>
        <a:p>
          <a:endParaRPr lang="ru-RU"/>
        </a:p>
      </dgm:t>
    </dgm:pt>
    <dgm:pt modelId="{1E90B453-7596-4B7D-BECD-310D93F8DD80}">
      <dgm:prSet phldrT="[Текст]" custT="1"/>
      <dgm:spPr/>
      <dgm:t>
        <a:bodyPr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400" b="1" i="1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Адаптация  в соответствии с потребностями учащегося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 уровнем его подготовки, интеллектуальными возможностями и амбициями.</a:t>
          </a:r>
          <a:endParaRPr kumimoji="0" lang="ru-RU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endParaRPr lang="ru-RU" dirty="0"/>
        </a:p>
      </dgm:t>
    </dgm:pt>
    <dgm:pt modelId="{FAFDC6A1-F16F-48F6-953A-36B48AB1BCC1}" type="parTrans" cxnId="{070C02A0-2B56-48E0-8EA7-BEAB55742BC8}">
      <dgm:prSet/>
      <dgm:spPr/>
      <dgm:t>
        <a:bodyPr/>
        <a:lstStyle/>
        <a:p>
          <a:endParaRPr lang="ru-RU"/>
        </a:p>
      </dgm:t>
    </dgm:pt>
    <dgm:pt modelId="{8D3936A1-9786-4ABF-A6E6-ABFF4FC03158}" type="sibTrans" cxnId="{070C02A0-2B56-48E0-8EA7-BEAB55742BC8}">
      <dgm:prSet/>
      <dgm:spPr/>
      <dgm:t>
        <a:bodyPr/>
        <a:lstStyle/>
        <a:p>
          <a:endParaRPr lang="ru-RU"/>
        </a:p>
      </dgm:t>
    </dgm:pt>
    <dgm:pt modelId="{E7677318-0AF1-4535-905F-A87E3970E5C7}">
      <dgm:prSet phldrT="[Текст]" phldr="1"/>
      <dgm:spPr/>
      <dgm:t>
        <a:bodyPr/>
        <a:lstStyle/>
        <a:p>
          <a:pPr marL="228600" indent="0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2700" dirty="0"/>
        </a:p>
      </dgm:t>
    </dgm:pt>
    <dgm:pt modelId="{3DAC4AF6-6342-4887-AF32-7C3F8F5617DC}" type="parTrans" cxnId="{4ACF5411-B6A2-4D07-B3AC-59D463DDCD58}">
      <dgm:prSet/>
      <dgm:spPr/>
      <dgm:t>
        <a:bodyPr/>
        <a:lstStyle/>
        <a:p>
          <a:endParaRPr lang="ru-RU"/>
        </a:p>
      </dgm:t>
    </dgm:pt>
    <dgm:pt modelId="{F5B89767-C554-480C-A97D-E85D28643647}" type="sibTrans" cxnId="{4ACF5411-B6A2-4D07-B3AC-59D463DDCD58}">
      <dgm:prSet/>
      <dgm:spPr/>
      <dgm:t>
        <a:bodyPr/>
        <a:lstStyle/>
        <a:p>
          <a:endParaRPr lang="ru-RU"/>
        </a:p>
      </dgm:t>
    </dgm:pt>
    <dgm:pt modelId="{4D58496A-7F22-4CC0-B217-0CB0BFC02C02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90C0A3E7-2DCC-48E7-B734-3011A1CFF8B2}" type="parTrans" cxnId="{1907E866-D0FB-4840-912E-41CB343A96BF}">
      <dgm:prSet/>
      <dgm:spPr/>
      <dgm:t>
        <a:bodyPr/>
        <a:lstStyle/>
        <a:p>
          <a:endParaRPr lang="ru-RU"/>
        </a:p>
      </dgm:t>
    </dgm:pt>
    <dgm:pt modelId="{03FE5C2C-913A-4BCF-853B-7FCF549D6778}" type="sibTrans" cxnId="{1907E866-D0FB-4840-912E-41CB343A96BF}">
      <dgm:prSet/>
      <dgm:spPr/>
      <dgm:t>
        <a:bodyPr/>
        <a:lstStyle/>
        <a:p>
          <a:endParaRPr lang="ru-RU"/>
        </a:p>
      </dgm:t>
    </dgm:pt>
    <dgm:pt modelId="{9F539AAF-A53B-4BB1-A151-53834EB5D2F4}">
      <dgm:prSet phldrT="[Текст]" custT="1"/>
      <dgm:spPr/>
      <dgm:t>
        <a:bodyPr/>
        <a:lstStyle/>
        <a:p>
          <a:pPr marL="0" marR="0" lvl="8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400" b="1" i="1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Освобождение от громоздких действий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позволяя сосредоточиться на сути предмета, рассмотреть большее количество примеров и решить больше заданий.</a:t>
          </a:r>
          <a:endParaRPr kumimoji="0" lang="ru-RU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228600" indent="0" defTabSz="1200150">
            <a:lnSpc>
              <a:spcPct val="90000"/>
            </a:lnSpc>
          </a:pP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1DC40479-4A2D-4EEE-A9C7-ECF2E7827D7A}" type="parTrans" cxnId="{075A27BD-AADF-4931-8D79-06D87CF41AA6}">
      <dgm:prSet/>
      <dgm:spPr/>
      <dgm:t>
        <a:bodyPr/>
        <a:lstStyle/>
        <a:p>
          <a:endParaRPr lang="ru-RU"/>
        </a:p>
      </dgm:t>
    </dgm:pt>
    <dgm:pt modelId="{66796974-6CC7-4510-AD7C-9E80644C9D6F}" type="sibTrans" cxnId="{075A27BD-AADF-4931-8D79-06D87CF41AA6}">
      <dgm:prSet/>
      <dgm:spPr/>
      <dgm:t>
        <a:bodyPr/>
        <a:lstStyle/>
        <a:p>
          <a:endParaRPr lang="ru-RU"/>
        </a:p>
      </dgm:t>
    </dgm:pt>
    <dgm:pt modelId="{331556EB-A766-465D-8930-2B21B32142FC}">
      <dgm:prSet phldrT="[Текст]" custT="1"/>
      <dgm:spPr/>
      <dgm:t>
        <a:bodyPr/>
        <a:lstStyle/>
        <a:p>
          <a:endParaRPr lang="ru-RU" dirty="0"/>
        </a:p>
      </dgm:t>
    </dgm:pt>
    <dgm:pt modelId="{1A78F39E-89E8-4749-B282-8FCEB935578D}" type="parTrans" cxnId="{D31059DF-CF7C-4472-B402-4B8C83D13237}">
      <dgm:prSet/>
      <dgm:spPr/>
      <dgm:t>
        <a:bodyPr/>
        <a:lstStyle/>
        <a:p>
          <a:endParaRPr lang="ru-RU"/>
        </a:p>
      </dgm:t>
    </dgm:pt>
    <dgm:pt modelId="{A5079B7A-0056-4418-95C1-4DC8847600BC}" type="sibTrans" cxnId="{D31059DF-CF7C-4472-B402-4B8C83D13237}">
      <dgm:prSet/>
      <dgm:spPr/>
      <dgm:t>
        <a:bodyPr/>
        <a:lstStyle/>
        <a:p>
          <a:endParaRPr lang="ru-RU"/>
        </a:p>
      </dgm:t>
    </dgm:pt>
    <dgm:pt modelId="{0710DF0C-1A3D-42BA-B1E7-1B3B3FC8FB5C}">
      <dgm:prSet phldrT="[Текст]" custT="1"/>
      <dgm:spPr/>
      <dgm:t>
        <a:bodyPr/>
        <a:lstStyle/>
        <a:p>
          <a:endParaRPr lang="ru-RU" dirty="0"/>
        </a:p>
      </dgm:t>
    </dgm:pt>
    <dgm:pt modelId="{34CDC0EB-3AD2-4A43-AF50-1C00556C09BD}" type="parTrans" cxnId="{EB072BEB-98E7-4D17-AD38-61BB99432AC9}">
      <dgm:prSet/>
      <dgm:spPr/>
      <dgm:t>
        <a:bodyPr/>
        <a:lstStyle/>
        <a:p>
          <a:endParaRPr lang="ru-RU"/>
        </a:p>
      </dgm:t>
    </dgm:pt>
    <dgm:pt modelId="{D2A6BA24-EE42-4AC1-9F16-1EFA7F9E7A78}" type="sibTrans" cxnId="{EB072BEB-98E7-4D17-AD38-61BB99432AC9}">
      <dgm:prSet/>
      <dgm:spPr/>
      <dgm:t>
        <a:bodyPr/>
        <a:lstStyle/>
        <a:p>
          <a:endParaRPr lang="ru-RU"/>
        </a:p>
      </dgm:t>
    </dgm:pt>
    <dgm:pt modelId="{CF45C92B-1713-466E-9318-711950E526D5}">
      <dgm:prSet/>
      <dgm:spPr/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52ABFB00-A34E-44FF-9507-3B0642A5648F}" type="parTrans" cxnId="{D56CDDDA-19B8-4478-B719-342BE46CB571}">
      <dgm:prSet/>
      <dgm:spPr/>
      <dgm:t>
        <a:bodyPr/>
        <a:lstStyle/>
        <a:p>
          <a:endParaRPr lang="ru-RU"/>
        </a:p>
      </dgm:t>
    </dgm:pt>
    <dgm:pt modelId="{52F278CE-A510-4306-9DCE-03B5C070F528}" type="sibTrans" cxnId="{D56CDDDA-19B8-4478-B719-342BE46CB571}">
      <dgm:prSet/>
      <dgm:spPr/>
      <dgm:t>
        <a:bodyPr/>
        <a:lstStyle/>
        <a:p>
          <a:endParaRPr lang="ru-RU"/>
        </a:p>
      </dgm:t>
    </dgm:pt>
    <dgm:pt modelId="{1A170289-B841-430E-AAAF-44A0329B238D}">
      <dgm:prSet custT="1"/>
      <dgm:spPr/>
      <dgm:t>
        <a:bodyPr/>
        <a:lstStyle/>
        <a:p>
          <a:r>
            <a:rPr kumimoji="0" lang="ru-RU" sz="1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Самопроверка на всех этапах работы</a:t>
          </a:r>
          <a:endParaRPr lang="ru-RU" sz="1400" b="1" i="0" dirty="0">
            <a:solidFill>
              <a:srgbClr val="FF0000"/>
            </a:solidFill>
          </a:endParaRPr>
        </a:p>
      </dgm:t>
    </dgm:pt>
    <dgm:pt modelId="{ECAD39CB-F718-4804-A4FA-A35998D1ACE1}" type="parTrans" cxnId="{7DC111C8-596E-40DA-8229-894C80C71664}">
      <dgm:prSet/>
      <dgm:spPr/>
      <dgm:t>
        <a:bodyPr/>
        <a:lstStyle/>
        <a:p>
          <a:endParaRPr lang="ru-RU"/>
        </a:p>
      </dgm:t>
    </dgm:pt>
    <dgm:pt modelId="{D567D00F-C683-49F5-A418-3BDCF7B92ABB}" type="sibTrans" cxnId="{7DC111C8-596E-40DA-8229-894C80C71664}">
      <dgm:prSet/>
      <dgm:spPr/>
      <dgm:t>
        <a:bodyPr/>
        <a:lstStyle/>
        <a:p>
          <a:endParaRPr lang="ru-RU"/>
        </a:p>
      </dgm:t>
    </dgm:pt>
    <dgm:pt modelId="{F6CF03B3-DDB2-4EA0-962B-3EC51F4F9B42}">
      <dgm:prSet/>
      <dgm:spPr/>
      <dgm:t>
        <a:bodyPr/>
        <a:lstStyle/>
        <a:p>
          <a:r>
            <a:rPr lang="ru-RU" dirty="0" smtClean="0"/>
            <a:t>5</a:t>
          </a:r>
          <a:endParaRPr lang="ru-RU" dirty="0"/>
        </a:p>
      </dgm:t>
    </dgm:pt>
    <dgm:pt modelId="{B437B60B-23AD-4C7B-B55F-736D7367D366}" type="parTrans" cxnId="{0D7BE0BC-D6BF-4165-8A34-45B078B586C2}">
      <dgm:prSet/>
      <dgm:spPr/>
      <dgm:t>
        <a:bodyPr/>
        <a:lstStyle/>
        <a:p>
          <a:endParaRPr lang="ru-RU"/>
        </a:p>
      </dgm:t>
    </dgm:pt>
    <dgm:pt modelId="{3BD02753-F16F-4F85-BCAA-1D48E8F05528}" type="sibTrans" cxnId="{0D7BE0BC-D6BF-4165-8A34-45B078B586C2}">
      <dgm:prSet/>
      <dgm:spPr/>
      <dgm:t>
        <a:bodyPr/>
        <a:lstStyle/>
        <a:p>
          <a:endParaRPr lang="ru-RU"/>
        </a:p>
      </dgm:t>
    </dgm:pt>
    <dgm:pt modelId="{AA144E3D-5252-4567-BC14-C6B6B5115EF1}">
      <dgm:prSet custT="1"/>
      <dgm:spPr/>
      <dgm:t>
        <a:bodyPr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400" b="1" i="1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Роль терпеливого наставника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 предоставляя практически неограниченное количество разъяснений, повторений, подсказок и проч.</a:t>
          </a:r>
        </a:p>
        <a:p>
          <a:endParaRPr lang="ru-RU" dirty="0"/>
        </a:p>
      </dgm:t>
    </dgm:pt>
    <dgm:pt modelId="{E8FF64D6-7E28-4A7C-A869-6BF3998DE6F8}" type="parTrans" cxnId="{76E2202A-3BB3-43C1-B24E-9F8269A5ED21}">
      <dgm:prSet/>
      <dgm:spPr/>
      <dgm:t>
        <a:bodyPr/>
        <a:lstStyle/>
        <a:p>
          <a:endParaRPr lang="ru-RU"/>
        </a:p>
      </dgm:t>
    </dgm:pt>
    <dgm:pt modelId="{F9205A6B-CE1E-4881-B442-7655FD11066E}" type="sibTrans" cxnId="{76E2202A-3BB3-43C1-B24E-9F8269A5ED21}">
      <dgm:prSet/>
      <dgm:spPr/>
      <dgm:t>
        <a:bodyPr/>
        <a:lstStyle/>
        <a:p>
          <a:endParaRPr lang="ru-RU"/>
        </a:p>
      </dgm:t>
    </dgm:pt>
    <dgm:pt modelId="{4AD1AF5A-3F47-4A15-ABFF-19092C3007BD}">
      <dgm:prSet phldrT="[Текст]" custT="1"/>
      <dgm:spPr/>
      <dgm:t>
        <a:bodyPr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400" b="1" i="1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Облегчение  понимания изучаемого материала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</a:t>
          </a:r>
          <a:r>
            <a: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за счет иных, нежели в печатной учебной литературе, способов подачи материала: индуктивный подход, воздействие на слуховую и эмоциональную память и т.п.</a:t>
          </a:r>
          <a:endParaRPr kumimoji="0" lang="ru-RU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dirty="0"/>
        </a:p>
      </dgm:t>
    </dgm:pt>
    <dgm:pt modelId="{1CD612E4-B606-49E0-A743-C2A76B5D430D}" type="parTrans" cxnId="{0652C8C9-20F2-43F2-A15E-AEE793726E94}">
      <dgm:prSet/>
      <dgm:spPr/>
      <dgm:t>
        <a:bodyPr/>
        <a:lstStyle/>
        <a:p>
          <a:endParaRPr lang="ru-RU"/>
        </a:p>
      </dgm:t>
    </dgm:pt>
    <dgm:pt modelId="{D103E2E3-9666-4CC2-B4AB-6A0BBF834CC9}" type="sibTrans" cxnId="{0652C8C9-20F2-43F2-A15E-AEE793726E94}">
      <dgm:prSet/>
      <dgm:spPr/>
      <dgm:t>
        <a:bodyPr/>
        <a:lstStyle/>
        <a:p>
          <a:endParaRPr lang="ru-RU"/>
        </a:p>
      </dgm:t>
    </dgm:pt>
    <dgm:pt modelId="{1D4CC9D7-E1B3-4EDA-9162-1DFB524F7B25}">
      <dgm:prSet phldrT="[Текст]" custT="1"/>
      <dgm:spPr/>
      <dgm:t>
        <a:bodyPr/>
        <a:lstStyle/>
        <a:p>
          <a:pPr marL="228600" indent="0" defTabSz="1200150">
            <a:lnSpc>
              <a:spcPct val="90000"/>
            </a:lnSpc>
          </a:pPr>
          <a:endParaRPr lang="ru-RU" sz="1400" dirty="0">
            <a:latin typeface="Times New Roman" pitchFamily="18" charset="0"/>
            <a:cs typeface="Times New Roman" pitchFamily="18" charset="0"/>
          </a:endParaRPr>
        </a:p>
      </dgm:t>
    </dgm:pt>
    <dgm:pt modelId="{6EAA9B5A-233A-4B13-85E3-DE00051AD605}" type="parTrans" cxnId="{1012F859-DEA2-420A-832B-9E9187B4886C}">
      <dgm:prSet/>
      <dgm:spPr/>
      <dgm:t>
        <a:bodyPr/>
        <a:lstStyle/>
        <a:p>
          <a:endParaRPr lang="ru-RU"/>
        </a:p>
      </dgm:t>
    </dgm:pt>
    <dgm:pt modelId="{9A45E722-8DA1-4A7A-AC17-34058F470076}" type="sibTrans" cxnId="{1012F859-DEA2-420A-832B-9E9187B4886C}">
      <dgm:prSet/>
      <dgm:spPr/>
      <dgm:t>
        <a:bodyPr/>
        <a:lstStyle/>
        <a:p>
          <a:endParaRPr lang="ru-RU"/>
        </a:p>
      </dgm:t>
    </dgm:pt>
    <dgm:pt modelId="{E49B8807-1EF9-4249-925B-FD5DE6C4340B}" type="pres">
      <dgm:prSet presAssocID="{77A3B6F2-B7E6-42ED-ABD7-B73CDE1C8EE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EEE57C-69D8-4DF9-9573-471736B07ED2}" type="pres">
      <dgm:prSet presAssocID="{AE433946-6C78-4BB7-AC48-FF5C7F66838D}" presName="composite" presStyleCnt="0"/>
      <dgm:spPr/>
      <dgm:t>
        <a:bodyPr/>
        <a:lstStyle/>
        <a:p>
          <a:endParaRPr lang="ru-RU"/>
        </a:p>
      </dgm:t>
    </dgm:pt>
    <dgm:pt modelId="{A4F745A7-BF28-46FE-B626-57C0D3D253FE}" type="pres">
      <dgm:prSet presAssocID="{AE433946-6C78-4BB7-AC48-FF5C7F66838D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94890F-4646-43C8-84F8-4DE21D700213}" type="pres">
      <dgm:prSet presAssocID="{AE433946-6C78-4BB7-AC48-FF5C7F66838D}" presName="descendantText" presStyleLbl="alignAcc1" presStyleIdx="0" presStyleCnt="5" custScaleY="1243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4CA36-95A1-4175-9D33-32676F1DD746}" type="pres">
      <dgm:prSet presAssocID="{E0CD2A78-19E4-4B2A-93E9-F04F532088CD}" presName="sp" presStyleCnt="0"/>
      <dgm:spPr/>
      <dgm:t>
        <a:bodyPr/>
        <a:lstStyle/>
        <a:p>
          <a:endParaRPr lang="ru-RU"/>
        </a:p>
      </dgm:t>
    </dgm:pt>
    <dgm:pt modelId="{D25DE10B-FCEC-4208-938A-DDA833BFE402}" type="pres">
      <dgm:prSet presAssocID="{4A5AEA9E-2FCF-42B9-B268-424C31B39EF5}" presName="composite" presStyleCnt="0"/>
      <dgm:spPr/>
      <dgm:t>
        <a:bodyPr/>
        <a:lstStyle/>
        <a:p>
          <a:endParaRPr lang="ru-RU"/>
        </a:p>
      </dgm:t>
    </dgm:pt>
    <dgm:pt modelId="{551CA619-D21A-426E-B3D3-57A653F9148C}" type="pres">
      <dgm:prSet presAssocID="{4A5AEA9E-2FCF-42B9-B268-424C31B39EF5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FF7BA3-7914-481A-A061-A1170BEC1406}" type="pres">
      <dgm:prSet presAssocID="{4A5AEA9E-2FCF-42B9-B268-424C31B39EF5}" presName="descendantText" presStyleLbl="alignAcc1" presStyleIdx="1" presStyleCnt="5" custScaleY="1279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35DD48-1F24-441F-9233-E01423CBCCAF}" type="pres">
      <dgm:prSet presAssocID="{970720A5-2CE0-4816-B722-F9EBC4ED7E13}" presName="sp" presStyleCnt="0"/>
      <dgm:spPr/>
      <dgm:t>
        <a:bodyPr/>
        <a:lstStyle/>
        <a:p>
          <a:endParaRPr lang="ru-RU"/>
        </a:p>
      </dgm:t>
    </dgm:pt>
    <dgm:pt modelId="{8C5F5938-E510-4C21-81D3-E777F925AFD7}" type="pres">
      <dgm:prSet presAssocID="{4D58496A-7F22-4CC0-B217-0CB0BFC02C02}" presName="composite" presStyleCnt="0"/>
      <dgm:spPr/>
      <dgm:t>
        <a:bodyPr/>
        <a:lstStyle/>
        <a:p>
          <a:endParaRPr lang="ru-RU"/>
        </a:p>
      </dgm:t>
    </dgm:pt>
    <dgm:pt modelId="{6D2BC7D0-7225-4A90-B348-0CC7A9CBA976}" type="pres">
      <dgm:prSet presAssocID="{4D58496A-7F22-4CC0-B217-0CB0BFC02C02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7297FB-797D-4E75-AFFA-54AAA93E6B4F}" type="pres">
      <dgm:prSet presAssocID="{4D58496A-7F22-4CC0-B217-0CB0BFC02C02}" presName="descendantText" presStyleLbl="alignAcc1" presStyleIdx="2" presStyleCnt="5" custScaleY="1406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7C3D60-02E0-4E65-84F1-14938E855B92}" type="pres">
      <dgm:prSet presAssocID="{03FE5C2C-913A-4BCF-853B-7FCF549D6778}" presName="sp" presStyleCnt="0"/>
      <dgm:spPr/>
      <dgm:t>
        <a:bodyPr/>
        <a:lstStyle/>
        <a:p>
          <a:endParaRPr lang="ru-RU"/>
        </a:p>
      </dgm:t>
    </dgm:pt>
    <dgm:pt modelId="{0D45DB75-DF53-4076-8A92-4D1BFABAAC59}" type="pres">
      <dgm:prSet presAssocID="{CF45C92B-1713-466E-9318-711950E526D5}" presName="composite" presStyleCnt="0"/>
      <dgm:spPr/>
      <dgm:t>
        <a:bodyPr/>
        <a:lstStyle/>
        <a:p>
          <a:endParaRPr lang="ru-RU"/>
        </a:p>
      </dgm:t>
    </dgm:pt>
    <dgm:pt modelId="{586C33AA-98AA-489F-81F4-2A8231C1E0E9}" type="pres">
      <dgm:prSet presAssocID="{CF45C92B-1713-466E-9318-711950E526D5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6E0EB2-814B-4563-AA1F-1AF59854E63A}" type="pres">
      <dgm:prSet presAssocID="{CF45C92B-1713-466E-9318-711950E526D5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9BACEF-3FFA-486C-9DE0-2E250BF32AA9}" type="pres">
      <dgm:prSet presAssocID="{52F278CE-A510-4306-9DCE-03B5C070F528}" presName="sp" presStyleCnt="0"/>
      <dgm:spPr/>
      <dgm:t>
        <a:bodyPr/>
        <a:lstStyle/>
        <a:p>
          <a:endParaRPr lang="ru-RU"/>
        </a:p>
      </dgm:t>
    </dgm:pt>
    <dgm:pt modelId="{078BA23F-E035-4B50-9716-0B0D042AB85C}" type="pres">
      <dgm:prSet presAssocID="{F6CF03B3-DDB2-4EA0-962B-3EC51F4F9B42}" presName="composite" presStyleCnt="0"/>
      <dgm:spPr/>
      <dgm:t>
        <a:bodyPr/>
        <a:lstStyle/>
        <a:p>
          <a:endParaRPr lang="ru-RU"/>
        </a:p>
      </dgm:t>
    </dgm:pt>
    <dgm:pt modelId="{3562004F-97AA-42B2-A85E-9FFC0E002C1C}" type="pres">
      <dgm:prSet presAssocID="{F6CF03B3-DDB2-4EA0-962B-3EC51F4F9B42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5C15C0-8F6A-4808-8A44-9403D9BF7CC9}" type="pres">
      <dgm:prSet presAssocID="{F6CF03B3-DDB2-4EA0-962B-3EC51F4F9B42}" presName="descendantText" presStyleLbl="alignAcc1" presStyleIdx="4" presStyleCnt="5" custScaleY="1643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44724B5-ACD9-4EC7-9D72-11362D1474C7}" srcId="{AE433946-6C78-4BB7-AC48-FF5C7F66838D}" destId="{66171840-1CBE-4651-A581-07CA66384EB6}" srcOrd="2" destOrd="0" parTransId="{FA92A27F-5A49-43F3-AA33-98AACDF5C100}" sibTransId="{E9E2D333-B739-4731-84B7-FC35211FFC50}"/>
    <dgm:cxn modelId="{A05047D4-F03F-428D-B34C-2F07D9385D32}" type="presOf" srcId="{9F539AAF-A53B-4BB1-A151-53834EB5D2F4}" destId="{E67297FB-797D-4E75-AFFA-54AAA93E6B4F}" srcOrd="0" destOrd="1" presId="urn:microsoft.com/office/officeart/2005/8/layout/chevron2"/>
    <dgm:cxn modelId="{9F18F38E-072A-463D-9941-E5C3B5E14D02}" type="presOf" srcId="{66171840-1CBE-4651-A581-07CA66384EB6}" destId="{C894890F-4646-43C8-84F8-4DE21D700213}" srcOrd="0" destOrd="2" presId="urn:microsoft.com/office/officeart/2005/8/layout/chevron2"/>
    <dgm:cxn modelId="{D31059DF-CF7C-4472-B402-4B8C83D13237}" srcId="{AE433946-6C78-4BB7-AC48-FF5C7F66838D}" destId="{331556EB-A766-465D-8930-2B21B32142FC}" srcOrd="0" destOrd="0" parTransId="{1A78F39E-89E8-4749-B282-8FCEB935578D}" sibTransId="{A5079B7A-0056-4418-95C1-4DC8847600BC}"/>
    <dgm:cxn modelId="{403AE83E-2C7E-4E11-8A8D-2E1233F45B43}" type="presOf" srcId="{AA144E3D-5252-4567-BC14-C6B6B5115EF1}" destId="{CD5C15C0-8F6A-4808-8A44-9403D9BF7CC9}" srcOrd="0" destOrd="0" presId="urn:microsoft.com/office/officeart/2005/8/layout/chevron2"/>
    <dgm:cxn modelId="{2BE00524-08F9-4DD9-A0E8-7E692E5B01D4}" type="presOf" srcId="{1E90B453-7596-4B7D-BECD-310D93F8DD80}" destId="{C5FF7BA3-7914-481A-A061-A1170BEC1406}" srcOrd="0" destOrd="1" presId="urn:microsoft.com/office/officeart/2005/8/layout/chevron2"/>
    <dgm:cxn modelId="{0D7BE0BC-D6BF-4165-8A34-45B078B586C2}" srcId="{77A3B6F2-B7E6-42ED-ABD7-B73CDE1C8EEC}" destId="{F6CF03B3-DDB2-4EA0-962B-3EC51F4F9B42}" srcOrd="4" destOrd="0" parTransId="{B437B60B-23AD-4C7B-B55F-736D7367D366}" sibTransId="{3BD02753-F16F-4F85-BCAA-1D48E8F05528}"/>
    <dgm:cxn modelId="{AA92D7D4-C33C-45FC-997C-15DAD46735D6}" type="presOf" srcId="{F6CF03B3-DDB2-4EA0-962B-3EC51F4F9B42}" destId="{3562004F-97AA-42B2-A85E-9FFC0E002C1C}" srcOrd="0" destOrd="0" presId="urn:microsoft.com/office/officeart/2005/8/layout/chevron2"/>
    <dgm:cxn modelId="{1012F859-DEA2-420A-832B-9E9187B4886C}" srcId="{4D58496A-7F22-4CC0-B217-0CB0BFC02C02}" destId="{1D4CC9D7-E1B3-4EDA-9162-1DFB524F7B25}" srcOrd="0" destOrd="0" parTransId="{6EAA9B5A-233A-4B13-85E3-DE00051AD605}" sibTransId="{9A45E722-8DA1-4A7A-AC17-34058F470076}"/>
    <dgm:cxn modelId="{4ACF5411-B6A2-4D07-B3AC-59D463DDCD58}" srcId="{4A5AEA9E-2FCF-42B9-B268-424C31B39EF5}" destId="{E7677318-0AF1-4535-905F-A87E3970E5C7}" srcOrd="2" destOrd="0" parTransId="{3DAC4AF6-6342-4887-AF32-7C3F8F5617DC}" sibTransId="{F5B89767-C554-480C-A97D-E85D28643647}"/>
    <dgm:cxn modelId="{0652C8C9-20F2-43F2-A15E-AEE793726E94}" srcId="{AE433946-6C78-4BB7-AC48-FF5C7F66838D}" destId="{4AD1AF5A-3F47-4A15-ABFF-19092C3007BD}" srcOrd="1" destOrd="0" parTransId="{1CD612E4-B606-49E0-A743-C2A76B5D430D}" sibTransId="{D103E2E3-9666-4CC2-B4AB-6A0BBF834CC9}"/>
    <dgm:cxn modelId="{6947D5B6-11C7-4AC5-B265-9A2D6EBA563E}" type="presOf" srcId="{1A170289-B841-430E-AAAF-44A0329B238D}" destId="{0E6E0EB2-814B-4563-AA1F-1AF59854E63A}" srcOrd="0" destOrd="0" presId="urn:microsoft.com/office/officeart/2005/8/layout/chevron2"/>
    <dgm:cxn modelId="{7DC111C8-596E-40DA-8229-894C80C71664}" srcId="{CF45C92B-1713-466E-9318-711950E526D5}" destId="{1A170289-B841-430E-AAAF-44A0329B238D}" srcOrd="0" destOrd="0" parTransId="{ECAD39CB-F718-4804-A4FA-A35998D1ACE1}" sibTransId="{D567D00F-C683-49F5-A418-3BDCF7B92ABB}"/>
    <dgm:cxn modelId="{D56CDDDA-19B8-4478-B719-342BE46CB571}" srcId="{77A3B6F2-B7E6-42ED-ABD7-B73CDE1C8EEC}" destId="{CF45C92B-1713-466E-9318-711950E526D5}" srcOrd="3" destOrd="0" parTransId="{52ABFB00-A34E-44FF-9507-3B0642A5648F}" sibTransId="{52F278CE-A510-4306-9DCE-03B5C070F528}"/>
    <dgm:cxn modelId="{3F9138D6-C049-4BF7-8EA2-40EC1A3C3798}" type="presOf" srcId="{331556EB-A766-465D-8930-2B21B32142FC}" destId="{C894890F-4646-43C8-84F8-4DE21D700213}" srcOrd="0" destOrd="0" presId="urn:microsoft.com/office/officeart/2005/8/layout/chevron2"/>
    <dgm:cxn modelId="{46B682D0-1465-48BA-8288-63BFBCE9C922}" type="presOf" srcId="{E7677318-0AF1-4535-905F-A87E3970E5C7}" destId="{C5FF7BA3-7914-481A-A061-A1170BEC1406}" srcOrd="0" destOrd="2" presId="urn:microsoft.com/office/officeart/2005/8/layout/chevron2"/>
    <dgm:cxn modelId="{9D7AAEC5-2809-469B-8FC0-DCDA0FD60C13}" type="presOf" srcId="{1D4CC9D7-E1B3-4EDA-9162-1DFB524F7B25}" destId="{E67297FB-797D-4E75-AFFA-54AAA93E6B4F}" srcOrd="0" destOrd="0" presId="urn:microsoft.com/office/officeart/2005/8/layout/chevron2"/>
    <dgm:cxn modelId="{EB072BEB-98E7-4D17-AD38-61BB99432AC9}" srcId="{4A5AEA9E-2FCF-42B9-B268-424C31B39EF5}" destId="{0710DF0C-1A3D-42BA-B1E7-1B3B3FC8FB5C}" srcOrd="0" destOrd="0" parTransId="{34CDC0EB-3AD2-4A43-AF50-1C00556C09BD}" sibTransId="{D2A6BA24-EE42-4AC1-9F16-1EFA7F9E7A78}"/>
    <dgm:cxn modelId="{FA2CA268-28B4-48EF-9E10-6FACFE4C6226}" type="presOf" srcId="{4D58496A-7F22-4CC0-B217-0CB0BFC02C02}" destId="{6D2BC7D0-7225-4A90-B348-0CC7A9CBA976}" srcOrd="0" destOrd="0" presId="urn:microsoft.com/office/officeart/2005/8/layout/chevron2"/>
    <dgm:cxn modelId="{1907E866-D0FB-4840-912E-41CB343A96BF}" srcId="{77A3B6F2-B7E6-42ED-ABD7-B73CDE1C8EEC}" destId="{4D58496A-7F22-4CC0-B217-0CB0BFC02C02}" srcOrd="2" destOrd="0" parTransId="{90C0A3E7-2DCC-48E7-B734-3011A1CFF8B2}" sibTransId="{03FE5C2C-913A-4BCF-853B-7FCF549D6778}"/>
    <dgm:cxn modelId="{070C02A0-2B56-48E0-8EA7-BEAB55742BC8}" srcId="{4A5AEA9E-2FCF-42B9-B268-424C31B39EF5}" destId="{1E90B453-7596-4B7D-BECD-310D93F8DD80}" srcOrd="1" destOrd="0" parTransId="{FAFDC6A1-F16F-48F6-953A-36B48AB1BCC1}" sibTransId="{8D3936A1-9786-4ABF-A6E6-ABFF4FC03158}"/>
    <dgm:cxn modelId="{302D2CD5-7ADF-4B52-A49E-94F38446CEA8}" type="presOf" srcId="{AE433946-6C78-4BB7-AC48-FF5C7F66838D}" destId="{A4F745A7-BF28-46FE-B626-57C0D3D253FE}" srcOrd="0" destOrd="0" presId="urn:microsoft.com/office/officeart/2005/8/layout/chevron2"/>
    <dgm:cxn modelId="{3914EFBC-B775-40B2-B75C-FC3DA3560E16}" type="presOf" srcId="{0710DF0C-1A3D-42BA-B1E7-1B3B3FC8FB5C}" destId="{C5FF7BA3-7914-481A-A061-A1170BEC1406}" srcOrd="0" destOrd="0" presId="urn:microsoft.com/office/officeart/2005/8/layout/chevron2"/>
    <dgm:cxn modelId="{075A27BD-AADF-4931-8D79-06D87CF41AA6}" srcId="{4D58496A-7F22-4CC0-B217-0CB0BFC02C02}" destId="{9F539AAF-A53B-4BB1-A151-53834EB5D2F4}" srcOrd="1" destOrd="0" parTransId="{1DC40479-4A2D-4EEE-A9C7-ECF2E7827D7A}" sibTransId="{66796974-6CC7-4510-AD7C-9E80644C9D6F}"/>
    <dgm:cxn modelId="{BA93F3B2-4F00-4823-8FB9-DF3B9BA3BC37}" type="presOf" srcId="{4AD1AF5A-3F47-4A15-ABFF-19092C3007BD}" destId="{C894890F-4646-43C8-84F8-4DE21D700213}" srcOrd="0" destOrd="1" presId="urn:microsoft.com/office/officeart/2005/8/layout/chevron2"/>
    <dgm:cxn modelId="{942F0A88-D1FF-4BDE-A6D1-9D5CF979CDC0}" type="presOf" srcId="{CF45C92B-1713-466E-9318-711950E526D5}" destId="{586C33AA-98AA-489F-81F4-2A8231C1E0E9}" srcOrd="0" destOrd="0" presId="urn:microsoft.com/office/officeart/2005/8/layout/chevron2"/>
    <dgm:cxn modelId="{DE59BCCE-118B-467B-822C-0E1A2A6C229A}" type="presOf" srcId="{4A5AEA9E-2FCF-42B9-B268-424C31B39EF5}" destId="{551CA619-D21A-426E-B3D3-57A653F9148C}" srcOrd="0" destOrd="0" presId="urn:microsoft.com/office/officeart/2005/8/layout/chevron2"/>
    <dgm:cxn modelId="{76E2202A-3BB3-43C1-B24E-9F8269A5ED21}" srcId="{F6CF03B3-DDB2-4EA0-962B-3EC51F4F9B42}" destId="{AA144E3D-5252-4567-BC14-C6B6B5115EF1}" srcOrd="0" destOrd="0" parTransId="{E8FF64D6-7E28-4A7C-A869-6BF3998DE6F8}" sibTransId="{F9205A6B-CE1E-4881-B442-7655FD11066E}"/>
    <dgm:cxn modelId="{7411EB97-DA9E-40AA-9EEB-13BE6A8B0D9E}" srcId="{77A3B6F2-B7E6-42ED-ABD7-B73CDE1C8EEC}" destId="{4A5AEA9E-2FCF-42B9-B268-424C31B39EF5}" srcOrd="1" destOrd="0" parTransId="{1FE6A795-4652-49EE-A562-139EF91EF312}" sibTransId="{970720A5-2CE0-4816-B722-F9EBC4ED7E13}"/>
    <dgm:cxn modelId="{479072C7-16A3-49FA-B888-CAC68AD5ADD8}" type="presOf" srcId="{77A3B6F2-B7E6-42ED-ABD7-B73CDE1C8EEC}" destId="{E49B8807-1EF9-4249-925B-FD5DE6C4340B}" srcOrd="0" destOrd="0" presId="urn:microsoft.com/office/officeart/2005/8/layout/chevron2"/>
    <dgm:cxn modelId="{F2455DD7-1BD0-4A92-A1E6-3830ADDDB45B}" srcId="{77A3B6F2-B7E6-42ED-ABD7-B73CDE1C8EEC}" destId="{AE433946-6C78-4BB7-AC48-FF5C7F66838D}" srcOrd="0" destOrd="0" parTransId="{565627A7-FD7A-433E-9C08-89BF275ACBEB}" sibTransId="{E0CD2A78-19E4-4B2A-93E9-F04F532088CD}"/>
    <dgm:cxn modelId="{78493539-1846-4B50-AF28-DAB521CF20C0}" type="presParOf" srcId="{E49B8807-1EF9-4249-925B-FD5DE6C4340B}" destId="{B0EEE57C-69D8-4DF9-9573-471736B07ED2}" srcOrd="0" destOrd="0" presId="urn:microsoft.com/office/officeart/2005/8/layout/chevron2"/>
    <dgm:cxn modelId="{E346CFDB-665D-4EEA-8AEF-C0B67F60B590}" type="presParOf" srcId="{B0EEE57C-69D8-4DF9-9573-471736B07ED2}" destId="{A4F745A7-BF28-46FE-B626-57C0D3D253FE}" srcOrd="0" destOrd="0" presId="urn:microsoft.com/office/officeart/2005/8/layout/chevron2"/>
    <dgm:cxn modelId="{934586D6-DCEE-469A-AD7C-93B8226A6428}" type="presParOf" srcId="{B0EEE57C-69D8-4DF9-9573-471736B07ED2}" destId="{C894890F-4646-43C8-84F8-4DE21D700213}" srcOrd="1" destOrd="0" presId="urn:microsoft.com/office/officeart/2005/8/layout/chevron2"/>
    <dgm:cxn modelId="{03F6FE90-B1D3-4759-84D3-015FB5CAF48A}" type="presParOf" srcId="{E49B8807-1EF9-4249-925B-FD5DE6C4340B}" destId="{A004CA36-95A1-4175-9D33-32676F1DD746}" srcOrd="1" destOrd="0" presId="urn:microsoft.com/office/officeart/2005/8/layout/chevron2"/>
    <dgm:cxn modelId="{A2791E3C-20C2-4AF5-9D10-FAB3718F0426}" type="presParOf" srcId="{E49B8807-1EF9-4249-925B-FD5DE6C4340B}" destId="{D25DE10B-FCEC-4208-938A-DDA833BFE402}" srcOrd="2" destOrd="0" presId="urn:microsoft.com/office/officeart/2005/8/layout/chevron2"/>
    <dgm:cxn modelId="{C83B7AB5-50EE-4EF9-B82F-F0B4A150823A}" type="presParOf" srcId="{D25DE10B-FCEC-4208-938A-DDA833BFE402}" destId="{551CA619-D21A-426E-B3D3-57A653F9148C}" srcOrd="0" destOrd="0" presId="urn:microsoft.com/office/officeart/2005/8/layout/chevron2"/>
    <dgm:cxn modelId="{7FE556F4-971F-4759-9B31-2E01D8A532C8}" type="presParOf" srcId="{D25DE10B-FCEC-4208-938A-DDA833BFE402}" destId="{C5FF7BA3-7914-481A-A061-A1170BEC1406}" srcOrd="1" destOrd="0" presId="urn:microsoft.com/office/officeart/2005/8/layout/chevron2"/>
    <dgm:cxn modelId="{EEB0138C-7E8F-40BF-9E5B-E059AA37F0F0}" type="presParOf" srcId="{E49B8807-1EF9-4249-925B-FD5DE6C4340B}" destId="{3135DD48-1F24-441F-9233-E01423CBCCAF}" srcOrd="3" destOrd="0" presId="urn:microsoft.com/office/officeart/2005/8/layout/chevron2"/>
    <dgm:cxn modelId="{D5B76261-EDFC-4E70-818C-8A1F79181AF4}" type="presParOf" srcId="{E49B8807-1EF9-4249-925B-FD5DE6C4340B}" destId="{8C5F5938-E510-4C21-81D3-E777F925AFD7}" srcOrd="4" destOrd="0" presId="urn:microsoft.com/office/officeart/2005/8/layout/chevron2"/>
    <dgm:cxn modelId="{2BCC7298-69FA-4F9E-BA99-6AF046AD8BC2}" type="presParOf" srcId="{8C5F5938-E510-4C21-81D3-E777F925AFD7}" destId="{6D2BC7D0-7225-4A90-B348-0CC7A9CBA976}" srcOrd="0" destOrd="0" presId="urn:microsoft.com/office/officeart/2005/8/layout/chevron2"/>
    <dgm:cxn modelId="{ABB562B7-66A2-4870-9A91-96F1D2967F17}" type="presParOf" srcId="{8C5F5938-E510-4C21-81D3-E777F925AFD7}" destId="{E67297FB-797D-4E75-AFFA-54AAA93E6B4F}" srcOrd="1" destOrd="0" presId="urn:microsoft.com/office/officeart/2005/8/layout/chevron2"/>
    <dgm:cxn modelId="{AC1BC664-6927-4632-B9DB-2B0320A97298}" type="presParOf" srcId="{E49B8807-1EF9-4249-925B-FD5DE6C4340B}" destId="{977C3D60-02E0-4E65-84F1-14938E855B92}" srcOrd="5" destOrd="0" presId="urn:microsoft.com/office/officeart/2005/8/layout/chevron2"/>
    <dgm:cxn modelId="{1D902EA7-0CF6-478D-9FD4-73FB18B8F474}" type="presParOf" srcId="{E49B8807-1EF9-4249-925B-FD5DE6C4340B}" destId="{0D45DB75-DF53-4076-8A92-4D1BFABAAC59}" srcOrd="6" destOrd="0" presId="urn:microsoft.com/office/officeart/2005/8/layout/chevron2"/>
    <dgm:cxn modelId="{D22205FE-4740-46D0-9816-DFE33D821E24}" type="presParOf" srcId="{0D45DB75-DF53-4076-8A92-4D1BFABAAC59}" destId="{586C33AA-98AA-489F-81F4-2A8231C1E0E9}" srcOrd="0" destOrd="0" presId="urn:microsoft.com/office/officeart/2005/8/layout/chevron2"/>
    <dgm:cxn modelId="{DACFD1EA-74EA-492D-BDC4-EBDA65F60659}" type="presParOf" srcId="{0D45DB75-DF53-4076-8A92-4D1BFABAAC59}" destId="{0E6E0EB2-814B-4563-AA1F-1AF59854E63A}" srcOrd="1" destOrd="0" presId="urn:microsoft.com/office/officeart/2005/8/layout/chevron2"/>
    <dgm:cxn modelId="{D9576C50-657C-404E-802E-7B79919EDFF3}" type="presParOf" srcId="{E49B8807-1EF9-4249-925B-FD5DE6C4340B}" destId="{F99BACEF-3FFA-486C-9DE0-2E250BF32AA9}" srcOrd="7" destOrd="0" presId="urn:microsoft.com/office/officeart/2005/8/layout/chevron2"/>
    <dgm:cxn modelId="{F20D5A50-E908-45AA-A903-ED0665607AE6}" type="presParOf" srcId="{E49B8807-1EF9-4249-925B-FD5DE6C4340B}" destId="{078BA23F-E035-4B50-9716-0B0D042AB85C}" srcOrd="8" destOrd="0" presId="urn:microsoft.com/office/officeart/2005/8/layout/chevron2"/>
    <dgm:cxn modelId="{7F55B370-0A34-4BA0-BB0B-1172C7188C8E}" type="presParOf" srcId="{078BA23F-E035-4B50-9716-0B0D042AB85C}" destId="{3562004F-97AA-42B2-A85E-9FFC0E002C1C}" srcOrd="0" destOrd="0" presId="urn:microsoft.com/office/officeart/2005/8/layout/chevron2"/>
    <dgm:cxn modelId="{891F415F-0CC2-44D5-8E85-8EE3F27AECBB}" type="presParOf" srcId="{078BA23F-E035-4B50-9716-0B0D042AB85C}" destId="{CD5C15C0-8F6A-4808-8A44-9403D9BF7CC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ACC9CD4-5793-4DD2-9056-2E7458EE5FF0}" type="doc">
      <dgm:prSet loTypeId="urn:microsoft.com/office/officeart/2005/8/layout/cycle6" loCatId="cycle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ru-RU"/>
        </a:p>
      </dgm:t>
    </dgm:pt>
    <dgm:pt modelId="{197B9BB7-BA20-4149-BFCE-4D4515675CE4}">
      <dgm:prSet phldrT="[Текст]" custT="1"/>
      <dgm:spPr/>
      <dgm:t>
        <a:bodyPr/>
        <a:lstStyle/>
        <a:p>
          <a:r>
            <a:rPr lang="ru-RU" sz="2200" dirty="0" smtClean="0"/>
            <a:t>Для каждого</a:t>
          </a:r>
          <a:endParaRPr lang="ru-RU" sz="2200" dirty="0"/>
        </a:p>
      </dgm:t>
    </dgm:pt>
    <dgm:pt modelId="{66C8B64C-3FAB-4F41-9444-1428EC5904E0}" type="parTrans" cxnId="{DE3FF682-96CD-4EE3-AFB4-613B19287D77}">
      <dgm:prSet/>
      <dgm:spPr/>
      <dgm:t>
        <a:bodyPr/>
        <a:lstStyle/>
        <a:p>
          <a:endParaRPr lang="ru-RU"/>
        </a:p>
      </dgm:t>
    </dgm:pt>
    <dgm:pt modelId="{9821A15F-80A9-47B3-B345-43CBDFB80FDD}" type="sibTrans" cxnId="{DE3FF682-96CD-4EE3-AFB4-613B19287D77}">
      <dgm:prSet/>
      <dgm:spPr/>
      <dgm:t>
        <a:bodyPr/>
        <a:lstStyle/>
        <a:p>
          <a:endParaRPr lang="ru-RU"/>
        </a:p>
      </dgm:t>
    </dgm:pt>
    <dgm:pt modelId="{2BD5A41C-0186-4F52-95C3-00CA053ED488}">
      <dgm:prSet phldrT="[Текст]" custT="1"/>
      <dgm:spPr/>
      <dgm:t>
        <a:bodyPr/>
        <a:lstStyle/>
        <a:p>
          <a:r>
            <a:rPr lang="ru-RU" sz="2200" dirty="0" smtClean="0"/>
            <a:t>Мотивирующее на учение </a:t>
          </a:r>
          <a:endParaRPr lang="ru-RU" sz="2200" dirty="0"/>
        </a:p>
      </dgm:t>
    </dgm:pt>
    <dgm:pt modelId="{31D34780-49A1-48F1-BC0E-001F1FB5DC13}" type="parTrans" cxnId="{7B316EA5-A2C9-477A-8023-92D2DB0F2879}">
      <dgm:prSet/>
      <dgm:spPr/>
      <dgm:t>
        <a:bodyPr/>
        <a:lstStyle/>
        <a:p>
          <a:endParaRPr lang="ru-RU"/>
        </a:p>
      </dgm:t>
    </dgm:pt>
    <dgm:pt modelId="{DC04799A-F71C-4651-917A-DD138CDDC329}" type="sibTrans" cxnId="{7B316EA5-A2C9-477A-8023-92D2DB0F2879}">
      <dgm:prSet/>
      <dgm:spPr/>
      <dgm:t>
        <a:bodyPr/>
        <a:lstStyle/>
        <a:p>
          <a:endParaRPr lang="ru-RU"/>
        </a:p>
      </dgm:t>
    </dgm:pt>
    <dgm:pt modelId="{4E897F28-3576-437C-8DC2-619961977C89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2200" dirty="0" smtClean="0"/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200" dirty="0" smtClean="0"/>
            <a:t>Захватывающее, эффективное, развивающее,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200" dirty="0" smtClean="0"/>
            <a:t>комфортное </a:t>
          </a:r>
        </a:p>
        <a:p>
          <a:pPr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dirty="0"/>
        </a:p>
      </dgm:t>
    </dgm:pt>
    <dgm:pt modelId="{8DD5F2BF-A12C-4251-8341-216121CCE5C7}" type="parTrans" cxnId="{50DFB2AD-2E4B-42C7-9444-5A46F9FFF181}">
      <dgm:prSet/>
      <dgm:spPr/>
      <dgm:t>
        <a:bodyPr/>
        <a:lstStyle/>
        <a:p>
          <a:endParaRPr lang="ru-RU"/>
        </a:p>
      </dgm:t>
    </dgm:pt>
    <dgm:pt modelId="{1CB0373E-1785-40E9-A8FF-58254517C1F7}" type="sibTrans" cxnId="{50DFB2AD-2E4B-42C7-9444-5A46F9FFF181}">
      <dgm:prSet/>
      <dgm:spPr/>
      <dgm:t>
        <a:bodyPr/>
        <a:lstStyle/>
        <a:p>
          <a:endParaRPr lang="ru-RU"/>
        </a:p>
      </dgm:t>
    </dgm:pt>
    <dgm:pt modelId="{0E4DDD16-F2B3-4941-8EBE-9D67EE2A3440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2400" dirty="0" smtClean="0"/>
            <a:t>В любом месте,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2400" dirty="0" smtClean="0"/>
            <a:t> в любое время</a:t>
          </a:r>
          <a:endParaRPr lang="ru-RU" sz="2400" dirty="0"/>
        </a:p>
      </dgm:t>
    </dgm:pt>
    <dgm:pt modelId="{3DDD3023-BCD0-46BC-9D45-2B93293D7DC0}" type="parTrans" cxnId="{EEF39352-3A87-4AE1-AE90-7DCE9B304832}">
      <dgm:prSet/>
      <dgm:spPr/>
      <dgm:t>
        <a:bodyPr/>
        <a:lstStyle/>
        <a:p>
          <a:endParaRPr lang="ru-RU"/>
        </a:p>
      </dgm:t>
    </dgm:pt>
    <dgm:pt modelId="{1EC66119-3B6F-496C-ACEC-AE4E31BF7AED}" type="sibTrans" cxnId="{EEF39352-3A87-4AE1-AE90-7DCE9B304832}">
      <dgm:prSet/>
      <dgm:spPr/>
      <dgm:t>
        <a:bodyPr/>
        <a:lstStyle/>
        <a:p>
          <a:endParaRPr lang="ru-RU"/>
        </a:p>
      </dgm:t>
    </dgm:pt>
    <dgm:pt modelId="{4CC73ACC-A1D8-4CA2-A84C-3B2314595457}" type="pres">
      <dgm:prSet presAssocID="{1ACC9CD4-5793-4DD2-9056-2E7458EE5FF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B40E199-966D-4932-BDD6-DEF76E02F41F}" type="pres">
      <dgm:prSet presAssocID="{197B9BB7-BA20-4149-BFCE-4D4515675CE4}" presName="node" presStyleLbl="node1" presStyleIdx="0" presStyleCnt="4" custScaleX="146452" custScaleY="61411" custRadScaleRad="88164" custRadScaleInc="14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8F6EAD-E4A8-499F-B8BA-0B277B2030B8}" type="pres">
      <dgm:prSet presAssocID="{197B9BB7-BA20-4149-BFCE-4D4515675CE4}" presName="spNode" presStyleCnt="0"/>
      <dgm:spPr/>
      <dgm:t>
        <a:bodyPr/>
        <a:lstStyle/>
        <a:p>
          <a:endParaRPr lang="ru-RU"/>
        </a:p>
      </dgm:t>
    </dgm:pt>
    <dgm:pt modelId="{FDDC6B1A-DBF6-46C0-9C7D-46799FF085C8}" type="pres">
      <dgm:prSet presAssocID="{9821A15F-80A9-47B3-B345-43CBDFB80FDD}" presName="sibTrans" presStyleLbl="sibTrans1D1" presStyleIdx="0" presStyleCnt="4"/>
      <dgm:spPr/>
      <dgm:t>
        <a:bodyPr/>
        <a:lstStyle/>
        <a:p>
          <a:endParaRPr lang="ru-RU"/>
        </a:p>
      </dgm:t>
    </dgm:pt>
    <dgm:pt modelId="{4D8B1B9A-529F-4706-A481-C218394D1A99}" type="pres">
      <dgm:prSet presAssocID="{2BD5A41C-0186-4F52-95C3-00CA053ED488}" presName="node" presStyleLbl="node1" presStyleIdx="1" presStyleCnt="4" custScaleX="152657" custScaleY="62338" custRadScaleRad="117653" custRadScaleInc="13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2EA305-2862-4C41-9BB7-66433C20CC23}" type="pres">
      <dgm:prSet presAssocID="{2BD5A41C-0186-4F52-95C3-00CA053ED488}" presName="spNode" presStyleCnt="0"/>
      <dgm:spPr/>
      <dgm:t>
        <a:bodyPr/>
        <a:lstStyle/>
        <a:p>
          <a:endParaRPr lang="ru-RU"/>
        </a:p>
      </dgm:t>
    </dgm:pt>
    <dgm:pt modelId="{5DF8A79B-3DA8-4BD9-B4BD-9619774A79AB}" type="pres">
      <dgm:prSet presAssocID="{DC04799A-F71C-4651-917A-DD138CDDC329}" presName="sibTrans" presStyleLbl="sibTrans1D1" presStyleIdx="1" presStyleCnt="4"/>
      <dgm:spPr/>
      <dgm:t>
        <a:bodyPr/>
        <a:lstStyle/>
        <a:p>
          <a:endParaRPr lang="ru-RU"/>
        </a:p>
      </dgm:t>
    </dgm:pt>
    <dgm:pt modelId="{969D9CDD-97E8-4907-B551-93D3B3E42FF8}" type="pres">
      <dgm:prSet presAssocID="{4E897F28-3576-437C-8DC2-619961977C89}" presName="node" presStyleLbl="node1" presStyleIdx="2" presStyleCnt="4" custScaleX="138483" custScaleY="110133" custRadScaleRad="102486" custRadScaleInc="-121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56E45F-FA1F-49E3-9BE8-BE1F8C12763E}" type="pres">
      <dgm:prSet presAssocID="{4E897F28-3576-437C-8DC2-619961977C89}" presName="spNode" presStyleCnt="0"/>
      <dgm:spPr/>
      <dgm:t>
        <a:bodyPr/>
        <a:lstStyle/>
        <a:p>
          <a:endParaRPr lang="ru-RU"/>
        </a:p>
      </dgm:t>
    </dgm:pt>
    <dgm:pt modelId="{CD0D8949-AE0C-4ECB-A31C-E1FA38B961D2}" type="pres">
      <dgm:prSet presAssocID="{1CB0373E-1785-40E9-A8FF-58254517C1F7}" presName="sibTrans" presStyleLbl="sibTrans1D1" presStyleIdx="2" presStyleCnt="4"/>
      <dgm:spPr/>
      <dgm:t>
        <a:bodyPr/>
        <a:lstStyle/>
        <a:p>
          <a:endParaRPr lang="ru-RU"/>
        </a:p>
      </dgm:t>
    </dgm:pt>
    <dgm:pt modelId="{7B4868D1-AF69-4BBE-9260-DE4B042A5E92}" type="pres">
      <dgm:prSet presAssocID="{0E4DDD16-F2B3-4941-8EBE-9D67EE2A3440}" presName="node" presStyleLbl="node1" presStyleIdx="3" presStyleCnt="4" custScaleX="148954" custScaleY="61412" custRadScaleRad="117713" custRadScaleInc="45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2E75DA-D6B9-4AC5-84EF-C3EEF71806CF}" type="pres">
      <dgm:prSet presAssocID="{0E4DDD16-F2B3-4941-8EBE-9D67EE2A3440}" presName="spNode" presStyleCnt="0"/>
      <dgm:spPr/>
      <dgm:t>
        <a:bodyPr/>
        <a:lstStyle/>
        <a:p>
          <a:endParaRPr lang="ru-RU"/>
        </a:p>
      </dgm:t>
    </dgm:pt>
    <dgm:pt modelId="{5BBD339B-6C61-4854-A251-10D265BB0605}" type="pres">
      <dgm:prSet presAssocID="{1EC66119-3B6F-496C-ACEC-AE4E31BF7AED}" presName="sibTrans" presStyleLbl="sibTrans1D1" presStyleIdx="3" presStyleCnt="4"/>
      <dgm:spPr/>
      <dgm:t>
        <a:bodyPr/>
        <a:lstStyle/>
        <a:p>
          <a:endParaRPr lang="ru-RU"/>
        </a:p>
      </dgm:t>
    </dgm:pt>
  </dgm:ptLst>
  <dgm:cxnLst>
    <dgm:cxn modelId="{238C08CA-6038-4778-94B3-23E499BF2AE0}" type="presOf" srcId="{DC04799A-F71C-4651-917A-DD138CDDC329}" destId="{5DF8A79B-3DA8-4BD9-B4BD-9619774A79AB}" srcOrd="0" destOrd="0" presId="urn:microsoft.com/office/officeart/2005/8/layout/cycle6"/>
    <dgm:cxn modelId="{4C997791-F447-44B6-B3D0-5049DBFABC56}" type="presOf" srcId="{1ACC9CD4-5793-4DD2-9056-2E7458EE5FF0}" destId="{4CC73ACC-A1D8-4CA2-A84C-3B2314595457}" srcOrd="0" destOrd="0" presId="urn:microsoft.com/office/officeart/2005/8/layout/cycle6"/>
    <dgm:cxn modelId="{6AAEE1AF-0D57-459B-BD13-16D6C2867D36}" type="presOf" srcId="{4E897F28-3576-437C-8DC2-619961977C89}" destId="{969D9CDD-97E8-4907-B551-93D3B3E42FF8}" srcOrd="0" destOrd="0" presId="urn:microsoft.com/office/officeart/2005/8/layout/cycle6"/>
    <dgm:cxn modelId="{344ABDE7-53DA-47BC-8932-5F68FAA66391}" type="presOf" srcId="{0E4DDD16-F2B3-4941-8EBE-9D67EE2A3440}" destId="{7B4868D1-AF69-4BBE-9260-DE4B042A5E92}" srcOrd="0" destOrd="0" presId="urn:microsoft.com/office/officeart/2005/8/layout/cycle6"/>
    <dgm:cxn modelId="{3C25F75F-1BA5-4D58-BFB8-74F5385E96AB}" type="presOf" srcId="{9821A15F-80A9-47B3-B345-43CBDFB80FDD}" destId="{FDDC6B1A-DBF6-46C0-9C7D-46799FF085C8}" srcOrd="0" destOrd="0" presId="urn:microsoft.com/office/officeart/2005/8/layout/cycle6"/>
    <dgm:cxn modelId="{C65C5127-33AC-4162-8E8E-FD8FBC672092}" type="presOf" srcId="{197B9BB7-BA20-4149-BFCE-4D4515675CE4}" destId="{FB40E199-966D-4932-BDD6-DEF76E02F41F}" srcOrd="0" destOrd="0" presId="urn:microsoft.com/office/officeart/2005/8/layout/cycle6"/>
    <dgm:cxn modelId="{1A2C9DA9-1213-471C-B29A-7C933BCC3173}" type="presOf" srcId="{1EC66119-3B6F-496C-ACEC-AE4E31BF7AED}" destId="{5BBD339B-6C61-4854-A251-10D265BB0605}" srcOrd="0" destOrd="0" presId="urn:microsoft.com/office/officeart/2005/8/layout/cycle6"/>
    <dgm:cxn modelId="{992F4B8D-AD85-4E93-AEF8-CE8902770FBC}" type="presOf" srcId="{2BD5A41C-0186-4F52-95C3-00CA053ED488}" destId="{4D8B1B9A-529F-4706-A481-C218394D1A99}" srcOrd="0" destOrd="0" presId="urn:microsoft.com/office/officeart/2005/8/layout/cycle6"/>
    <dgm:cxn modelId="{EEF39352-3A87-4AE1-AE90-7DCE9B304832}" srcId="{1ACC9CD4-5793-4DD2-9056-2E7458EE5FF0}" destId="{0E4DDD16-F2B3-4941-8EBE-9D67EE2A3440}" srcOrd="3" destOrd="0" parTransId="{3DDD3023-BCD0-46BC-9D45-2B93293D7DC0}" sibTransId="{1EC66119-3B6F-496C-ACEC-AE4E31BF7AED}"/>
    <dgm:cxn modelId="{DE3FF682-96CD-4EE3-AFB4-613B19287D77}" srcId="{1ACC9CD4-5793-4DD2-9056-2E7458EE5FF0}" destId="{197B9BB7-BA20-4149-BFCE-4D4515675CE4}" srcOrd="0" destOrd="0" parTransId="{66C8B64C-3FAB-4F41-9444-1428EC5904E0}" sibTransId="{9821A15F-80A9-47B3-B345-43CBDFB80FDD}"/>
    <dgm:cxn modelId="{50DFB2AD-2E4B-42C7-9444-5A46F9FFF181}" srcId="{1ACC9CD4-5793-4DD2-9056-2E7458EE5FF0}" destId="{4E897F28-3576-437C-8DC2-619961977C89}" srcOrd="2" destOrd="0" parTransId="{8DD5F2BF-A12C-4251-8341-216121CCE5C7}" sibTransId="{1CB0373E-1785-40E9-A8FF-58254517C1F7}"/>
    <dgm:cxn modelId="{7B316EA5-A2C9-477A-8023-92D2DB0F2879}" srcId="{1ACC9CD4-5793-4DD2-9056-2E7458EE5FF0}" destId="{2BD5A41C-0186-4F52-95C3-00CA053ED488}" srcOrd="1" destOrd="0" parTransId="{31D34780-49A1-48F1-BC0E-001F1FB5DC13}" sibTransId="{DC04799A-F71C-4651-917A-DD138CDDC329}"/>
    <dgm:cxn modelId="{5631242F-88C6-4D3A-A23F-E03B4120D081}" type="presOf" srcId="{1CB0373E-1785-40E9-A8FF-58254517C1F7}" destId="{CD0D8949-AE0C-4ECB-A31C-E1FA38B961D2}" srcOrd="0" destOrd="0" presId="urn:microsoft.com/office/officeart/2005/8/layout/cycle6"/>
    <dgm:cxn modelId="{FEA9F43F-4A43-4BBF-AE63-B50A72C5EE21}" type="presParOf" srcId="{4CC73ACC-A1D8-4CA2-A84C-3B2314595457}" destId="{FB40E199-966D-4932-BDD6-DEF76E02F41F}" srcOrd="0" destOrd="0" presId="urn:microsoft.com/office/officeart/2005/8/layout/cycle6"/>
    <dgm:cxn modelId="{D71059C0-F54D-4C3C-9402-4D5759208A83}" type="presParOf" srcId="{4CC73ACC-A1D8-4CA2-A84C-3B2314595457}" destId="{028F6EAD-E4A8-499F-B8BA-0B277B2030B8}" srcOrd="1" destOrd="0" presId="urn:microsoft.com/office/officeart/2005/8/layout/cycle6"/>
    <dgm:cxn modelId="{75C221D0-CF9C-4F0E-AE12-A7E2467FAACF}" type="presParOf" srcId="{4CC73ACC-A1D8-4CA2-A84C-3B2314595457}" destId="{FDDC6B1A-DBF6-46C0-9C7D-46799FF085C8}" srcOrd="2" destOrd="0" presId="urn:microsoft.com/office/officeart/2005/8/layout/cycle6"/>
    <dgm:cxn modelId="{B7907906-49CE-40D2-B396-7DF610A21E3F}" type="presParOf" srcId="{4CC73ACC-A1D8-4CA2-A84C-3B2314595457}" destId="{4D8B1B9A-529F-4706-A481-C218394D1A99}" srcOrd="3" destOrd="0" presId="urn:microsoft.com/office/officeart/2005/8/layout/cycle6"/>
    <dgm:cxn modelId="{CA980CDB-59F1-4315-952C-EC5A20C7CF1E}" type="presParOf" srcId="{4CC73ACC-A1D8-4CA2-A84C-3B2314595457}" destId="{A02EA305-2862-4C41-9BB7-66433C20CC23}" srcOrd="4" destOrd="0" presId="urn:microsoft.com/office/officeart/2005/8/layout/cycle6"/>
    <dgm:cxn modelId="{FBD927FC-4642-4D88-A02C-7AB3B5045E44}" type="presParOf" srcId="{4CC73ACC-A1D8-4CA2-A84C-3B2314595457}" destId="{5DF8A79B-3DA8-4BD9-B4BD-9619774A79AB}" srcOrd="5" destOrd="0" presId="urn:microsoft.com/office/officeart/2005/8/layout/cycle6"/>
    <dgm:cxn modelId="{9486B31B-2E34-4342-AF22-AD46A843481B}" type="presParOf" srcId="{4CC73ACC-A1D8-4CA2-A84C-3B2314595457}" destId="{969D9CDD-97E8-4907-B551-93D3B3E42FF8}" srcOrd="6" destOrd="0" presId="urn:microsoft.com/office/officeart/2005/8/layout/cycle6"/>
    <dgm:cxn modelId="{C280EA58-78F2-4948-9DBC-B6C2D53A7C58}" type="presParOf" srcId="{4CC73ACC-A1D8-4CA2-A84C-3B2314595457}" destId="{2D56E45F-FA1F-49E3-9BE8-BE1F8C12763E}" srcOrd="7" destOrd="0" presId="urn:microsoft.com/office/officeart/2005/8/layout/cycle6"/>
    <dgm:cxn modelId="{02ABE000-71E8-45B8-BBF2-8D4EDF79D34C}" type="presParOf" srcId="{4CC73ACC-A1D8-4CA2-A84C-3B2314595457}" destId="{CD0D8949-AE0C-4ECB-A31C-E1FA38B961D2}" srcOrd="8" destOrd="0" presId="urn:microsoft.com/office/officeart/2005/8/layout/cycle6"/>
    <dgm:cxn modelId="{BFE74823-43AA-46C5-8ED2-106986579C96}" type="presParOf" srcId="{4CC73ACC-A1D8-4CA2-A84C-3B2314595457}" destId="{7B4868D1-AF69-4BBE-9260-DE4B042A5E92}" srcOrd="9" destOrd="0" presId="urn:microsoft.com/office/officeart/2005/8/layout/cycle6"/>
    <dgm:cxn modelId="{FFA92022-43D7-4486-946B-1EE03F34545D}" type="presParOf" srcId="{4CC73ACC-A1D8-4CA2-A84C-3B2314595457}" destId="{AD2E75DA-D6B9-4AC5-84EF-C3EEF71806CF}" srcOrd="10" destOrd="0" presId="urn:microsoft.com/office/officeart/2005/8/layout/cycle6"/>
    <dgm:cxn modelId="{FCB14483-29F7-4AD7-BD9A-589E13B137DE}" type="presParOf" srcId="{4CC73ACC-A1D8-4CA2-A84C-3B2314595457}" destId="{5BBD339B-6C61-4854-A251-10D265BB0605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1184C1-1A2E-4E42-94DD-266A4A5D1C6B}">
      <dsp:nvSpPr>
        <dsp:cNvPr id="0" name=""/>
        <dsp:cNvSpPr/>
      </dsp:nvSpPr>
      <dsp:spPr>
        <a:xfrm>
          <a:off x="180420" y="321502"/>
          <a:ext cx="4353456" cy="3903389"/>
        </a:xfrm>
        <a:prstGeom prst="diamond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7CAE95C-1E84-4553-8477-06AF6B1BB1E9}">
      <dsp:nvSpPr>
        <dsp:cNvPr id="0" name=""/>
        <dsp:cNvSpPr/>
      </dsp:nvSpPr>
      <dsp:spPr>
        <a:xfrm>
          <a:off x="2454783" y="454093"/>
          <a:ext cx="3066293" cy="518331"/>
        </a:xfrm>
        <a:prstGeom prst="roundRect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Times New Roman" pitchFamily="18" charset="0"/>
              <a:cs typeface="Times New Roman" pitchFamily="18" charset="0"/>
            </a:rPr>
            <a:t>Сотворчество учителя и ученика (возможность быть субъектом), диалог</a:t>
          </a:r>
          <a:endParaRPr lang="ru-RU" sz="1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80086" y="479396"/>
        <a:ext cx="3015687" cy="467725"/>
      </dsp:txXfrm>
    </dsp:sp>
    <dsp:sp modelId="{F6FBDA4A-19D3-4D5E-94AF-1985C68495D9}">
      <dsp:nvSpPr>
        <dsp:cNvPr id="0" name=""/>
        <dsp:cNvSpPr/>
      </dsp:nvSpPr>
      <dsp:spPr>
        <a:xfrm>
          <a:off x="2513566" y="1037215"/>
          <a:ext cx="2948727" cy="518331"/>
        </a:xfrm>
        <a:prstGeom prst="roundRect">
          <a:avLst/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Формирование эмоционального интеллекта, наряду  с </a:t>
          </a:r>
          <a:r>
            <a:rPr lang="ru-RU" sz="1200" kern="1200" dirty="0" err="1" smtClean="0">
              <a:latin typeface="Times New Roman" pitchFamily="18" charset="0"/>
              <a:cs typeface="Times New Roman" pitchFamily="18" charset="0"/>
            </a:rPr>
            <a:t>метапредметными</a:t>
          </a: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 умениями 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38869" y="1062518"/>
        <a:ext cx="2898121" cy="467725"/>
      </dsp:txXfrm>
    </dsp:sp>
    <dsp:sp modelId="{F4602B61-F17B-4156-80D7-125A52F978AC}">
      <dsp:nvSpPr>
        <dsp:cNvPr id="0" name=""/>
        <dsp:cNvSpPr/>
      </dsp:nvSpPr>
      <dsp:spPr>
        <a:xfrm>
          <a:off x="2466475" y="1620338"/>
          <a:ext cx="3042909" cy="647913"/>
        </a:xfrm>
        <a:prstGeom prst="roundRect">
          <a:avLst/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Опора в методике преподавания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itchFamily="18" charset="0"/>
              <a:cs typeface="Times New Roman" pitchFamily="18" charset="0"/>
            </a:rPr>
            <a:t>на  </a:t>
          </a:r>
          <a:r>
            <a:rPr lang="ru-RU" sz="12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природу искусства, природу ребенка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rPr>
            <a:t>и природу художественного творчества</a:t>
          </a:r>
          <a:endParaRPr lang="ru-RU" sz="12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98104" y="1651967"/>
        <a:ext cx="2979651" cy="584655"/>
      </dsp:txXfrm>
    </dsp:sp>
    <dsp:sp modelId="{7FD25DE7-3812-401C-959D-A41189B72259}">
      <dsp:nvSpPr>
        <dsp:cNvPr id="0" name=""/>
        <dsp:cNvSpPr/>
      </dsp:nvSpPr>
      <dsp:spPr>
        <a:xfrm>
          <a:off x="2513566" y="2333043"/>
          <a:ext cx="2948727" cy="518331"/>
        </a:xfrm>
        <a:prstGeom prst="roundRect">
          <a:avLst/>
        </a:prstGeom>
        <a:solidFill>
          <a:schemeClr val="accent3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Times New Roman" pitchFamily="18" charset="0"/>
              <a:cs typeface="Times New Roman" pitchFamily="18" charset="0"/>
            </a:rPr>
            <a:t>От </a:t>
          </a:r>
          <a:r>
            <a:rPr lang="ru-RU" sz="1400" kern="1200" dirty="0" err="1" smtClean="0">
              <a:latin typeface="Times New Roman" pitchFamily="18" charset="0"/>
              <a:cs typeface="Times New Roman" pitchFamily="18" charset="0"/>
            </a:rPr>
            <a:t>межпредметных</a:t>
          </a:r>
          <a:r>
            <a:rPr lang="ru-RU" sz="1400" kern="1200" dirty="0" smtClean="0">
              <a:latin typeface="Times New Roman" pitchFamily="18" charset="0"/>
              <a:cs typeface="Times New Roman" pitchFamily="18" charset="0"/>
            </a:rPr>
            <a:t> связей к интеграции </a:t>
          </a:r>
          <a:endParaRPr lang="ru-RU" sz="1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38869" y="2358346"/>
        <a:ext cx="2898121" cy="467725"/>
      </dsp:txXfrm>
    </dsp:sp>
    <dsp:sp modelId="{50EE2E66-C542-485D-82E5-BEB23EED3DBE}">
      <dsp:nvSpPr>
        <dsp:cNvPr id="0" name=""/>
        <dsp:cNvSpPr/>
      </dsp:nvSpPr>
      <dsp:spPr>
        <a:xfrm>
          <a:off x="2501329" y="2900387"/>
          <a:ext cx="2948727" cy="518331"/>
        </a:xfrm>
        <a:prstGeom prst="roundRect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Times New Roman" pitchFamily="18" charset="0"/>
              <a:cs typeface="Times New Roman" pitchFamily="18" charset="0"/>
            </a:rPr>
            <a:t>Развитие музыкально-творческих способностей учащихся</a:t>
          </a:r>
          <a:endParaRPr lang="ru-RU" sz="1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26632" y="2925690"/>
        <a:ext cx="2898121" cy="467725"/>
      </dsp:txXfrm>
    </dsp:sp>
    <dsp:sp modelId="{E32128E4-0854-4834-9BC0-0141A77EA91E}">
      <dsp:nvSpPr>
        <dsp:cNvPr id="0" name=""/>
        <dsp:cNvSpPr/>
      </dsp:nvSpPr>
      <dsp:spPr>
        <a:xfrm>
          <a:off x="2513566" y="3499288"/>
          <a:ext cx="2948727" cy="518331"/>
        </a:xfrm>
        <a:prstGeom prst="roundRect">
          <a:avLst/>
        </a:prstGeom>
        <a:solidFill>
          <a:schemeClr val="accent6"/>
        </a:solidFill>
        <a:ln w="25400" cap="flat" cmpd="sng" algn="ctr">
          <a:solidFill>
            <a:schemeClr val="accent6">
              <a:shade val="50000"/>
            </a:schemeClr>
          </a:solidFill>
          <a:prstDash val="solid"/>
        </a:ln>
        <a:effectLst/>
      </dsp:spPr>
      <dsp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Times New Roman" pitchFamily="18" charset="0"/>
              <a:cs typeface="Times New Roman" pitchFamily="18" charset="0"/>
            </a:rPr>
            <a:t>Современные ИКТ технологии </a:t>
          </a:r>
          <a:endParaRPr lang="ru-RU" sz="1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38869" y="3524591"/>
        <a:ext cx="2898121" cy="4677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DBD01F-072E-40E4-97BF-DFD38284D86C}">
      <dsp:nvSpPr>
        <dsp:cNvPr id="0" name=""/>
        <dsp:cNvSpPr/>
      </dsp:nvSpPr>
      <dsp:spPr>
        <a:xfrm>
          <a:off x="2702188" y="801851"/>
          <a:ext cx="1203071" cy="3670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152"/>
              </a:lnTo>
              <a:lnTo>
                <a:pt x="1203071" y="250152"/>
              </a:lnTo>
              <a:lnTo>
                <a:pt x="1203071" y="36707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9C66D8-93EC-46D4-ABD1-5FA1AC41CB48}">
      <dsp:nvSpPr>
        <dsp:cNvPr id="0" name=""/>
        <dsp:cNvSpPr/>
      </dsp:nvSpPr>
      <dsp:spPr>
        <a:xfrm>
          <a:off x="1460387" y="801851"/>
          <a:ext cx="1241800" cy="367077"/>
        </a:xfrm>
        <a:custGeom>
          <a:avLst/>
          <a:gdLst/>
          <a:ahLst/>
          <a:cxnLst/>
          <a:rect l="0" t="0" r="0" b="0"/>
          <a:pathLst>
            <a:path>
              <a:moveTo>
                <a:pt x="1241800" y="0"/>
              </a:moveTo>
              <a:lnTo>
                <a:pt x="1241800" y="250152"/>
              </a:lnTo>
              <a:lnTo>
                <a:pt x="0" y="250152"/>
              </a:lnTo>
              <a:lnTo>
                <a:pt x="0" y="367077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A270D7-6335-4B4D-964B-F7586B3A68A9}">
      <dsp:nvSpPr>
        <dsp:cNvPr id="0" name=""/>
        <dsp:cNvSpPr/>
      </dsp:nvSpPr>
      <dsp:spPr>
        <a:xfrm>
          <a:off x="1486414" y="380"/>
          <a:ext cx="2431547" cy="80147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F78D11-ECD2-4A08-83B3-3587D77666AC}">
      <dsp:nvSpPr>
        <dsp:cNvPr id="0" name=""/>
        <dsp:cNvSpPr/>
      </dsp:nvSpPr>
      <dsp:spPr>
        <a:xfrm>
          <a:off x="1626654" y="133608"/>
          <a:ext cx="2431547" cy="801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 содержании учебника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2 раздела:</a:t>
          </a:r>
          <a:endParaRPr lang="ru-RU" sz="1600" kern="1200" dirty="0"/>
        </a:p>
      </dsp:txBody>
      <dsp:txXfrm>
        <a:off x="1650128" y="157082"/>
        <a:ext cx="2384599" cy="754522"/>
      </dsp:txXfrm>
    </dsp:sp>
    <dsp:sp modelId="{E06AFDC4-D4D0-4069-AA2E-D0A3289469F5}">
      <dsp:nvSpPr>
        <dsp:cNvPr id="0" name=""/>
        <dsp:cNvSpPr/>
      </dsp:nvSpPr>
      <dsp:spPr>
        <a:xfrm>
          <a:off x="397555" y="1168928"/>
          <a:ext cx="2125663" cy="80147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DB7EA4-8B76-45BD-B1AB-CFFB4DF0D5DD}">
      <dsp:nvSpPr>
        <dsp:cNvPr id="0" name=""/>
        <dsp:cNvSpPr/>
      </dsp:nvSpPr>
      <dsp:spPr>
        <a:xfrm>
          <a:off x="537795" y="1302156"/>
          <a:ext cx="2125663" cy="801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«Музыка в жизни, жизнь в музыке- как это услышать?»</a:t>
          </a:r>
          <a:endParaRPr lang="ru-RU" sz="1600" kern="1200" dirty="0"/>
        </a:p>
      </dsp:txBody>
      <dsp:txXfrm>
        <a:off x="561269" y="1325630"/>
        <a:ext cx="2078715" cy="754522"/>
      </dsp:txXfrm>
    </dsp:sp>
    <dsp:sp modelId="{141A5FE0-E875-4DC8-8C88-34959053D022}">
      <dsp:nvSpPr>
        <dsp:cNvPr id="0" name=""/>
        <dsp:cNvSpPr/>
      </dsp:nvSpPr>
      <dsp:spPr>
        <a:xfrm>
          <a:off x="2803698" y="1168928"/>
          <a:ext cx="2203122" cy="80147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641C55-8E62-4098-8F40-5EF3D0A7A66D}">
      <dsp:nvSpPr>
        <dsp:cNvPr id="0" name=""/>
        <dsp:cNvSpPr/>
      </dsp:nvSpPr>
      <dsp:spPr>
        <a:xfrm>
          <a:off x="2943938" y="1302156"/>
          <a:ext cx="2203122" cy="80147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«Каждая встреча с музыкой- повод к размышлениям о жизни»</a:t>
          </a:r>
          <a:endParaRPr lang="ru-RU" sz="1600" kern="1200" dirty="0"/>
        </a:p>
      </dsp:txBody>
      <dsp:txXfrm>
        <a:off x="2967412" y="1325630"/>
        <a:ext cx="2156174" cy="7545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A34D99-8436-4665-9146-03205B1871CD}">
      <dsp:nvSpPr>
        <dsp:cNvPr id="0" name=""/>
        <dsp:cNvSpPr/>
      </dsp:nvSpPr>
      <dsp:spPr>
        <a:xfrm>
          <a:off x="2967" y="2029088"/>
          <a:ext cx="2120871" cy="148384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Курс имеет трехуровневую иерархическую структуру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/>
        </a:p>
      </dsp:txBody>
      <dsp:txXfrm>
        <a:off x="46427" y="2072548"/>
        <a:ext cx="2033951" cy="1396926"/>
      </dsp:txXfrm>
    </dsp:sp>
    <dsp:sp modelId="{0A79C70E-0007-45C7-B808-3D16CEF3006D}">
      <dsp:nvSpPr>
        <dsp:cNvPr id="0" name=""/>
        <dsp:cNvSpPr/>
      </dsp:nvSpPr>
      <dsp:spPr>
        <a:xfrm rot="16778347">
          <a:off x="1278569" y="1753108"/>
          <a:ext cx="2030536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2030536" y="1696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2243074" y="1719313"/>
        <a:ext cx="101526" cy="101526"/>
      </dsp:txXfrm>
    </dsp:sp>
    <dsp:sp modelId="{44828E09-6EDA-4DE8-9E6C-55B07436D36B}">
      <dsp:nvSpPr>
        <dsp:cNvPr id="0" name=""/>
        <dsp:cNvSpPr/>
      </dsp:nvSpPr>
      <dsp:spPr>
        <a:xfrm>
          <a:off x="2463836" y="238924"/>
          <a:ext cx="2500062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принцип систематичности и последовательности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/>
        </a:p>
      </dsp:txBody>
      <dsp:txXfrm>
        <a:off x="2494895" y="269983"/>
        <a:ext cx="2437944" cy="998317"/>
      </dsp:txXfrm>
    </dsp:sp>
    <dsp:sp modelId="{975ED240-F8FA-4C62-8E70-32BBD80E9807}">
      <dsp:nvSpPr>
        <dsp:cNvPr id="0" name=""/>
        <dsp:cNvSpPr/>
      </dsp:nvSpPr>
      <dsp:spPr>
        <a:xfrm>
          <a:off x="4963898" y="752174"/>
          <a:ext cx="1453221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1453221" y="16968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5654178" y="732811"/>
        <a:ext cx="72661" cy="72661"/>
      </dsp:txXfrm>
    </dsp:sp>
    <dsp:sp modelId="{27CF5632-87DE-4A11-8832-6A2A2A313A8C}">
      <dsp:nvSpPr>
        <dsp:cNvPr id="0" name=""/>
        <dsp:cNvSpPr/>
      </dsp:nvSpPr>
      <dsp:spPr>
        <a:xfrm>
          <a:off x="6417119" y="238924"/>
          <a:ext cx="2120871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bg1"/>
              </a:solidFill>
            </a:rPr>
            <a:t>метод 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bg1"/>
              </a:solidFill>
            </a:rPr>
            <a:t>«шаг за шагом»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/>
        </a:p>
      </dsp:txBody>
      <dsp:txXfrm>
        <a:off x="6448178" y="269983"/>
        <a:ext cx="2058753" cy="998317"/>
      </dsp:txXfrm>
    </dsp:sp>
    <dsp:sp modelId="{26E66A2D-277C-4833-8FCA-0375D9E44D63}">
      <dsp:nvSpPr>
        <dsp:cNvPr id="0" name=""/>
        <dsp:cNvSpPr/>
      </dsp:nvSpPr>
      <dsp:spPr>
        <a:xfrm rot="3303390">
          <a:off x="4470236" y="1699349"/>
          <a:ext cx="2310982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2310982" y="16968"/>
              </a:lnTo>
            </a:path>
          </a:pathLst>
        </a:custGeom>
        <a:noFill/>
        <a:ln w="25400" cap="flat" cmpd="sng" algn="ctr">
          <a:noFill/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800" kern="1200"/>
        </a:p>
      </dsp:txBody>
      <dsp:txXfrm>
        <a:off x="5567952" y="1658543"/>
        <a:ext cx="115549" cy="115549"/>
      </dsp:txXfrm>
    </dsp:sp>
    <dsp:sp modelId="{C2CBEF2F-B1C0-474A-AE7F-DC188A3C8D86}">
      <dsp:nvSpPr>
        <dsp:cNvPr id="0" name=""/>
        <dsp:cNvSpPr/>
      </dsp:nvSpPr>
      <dsp:spPr>
        <a:xfrm>
          <a:off x="6287555" y="2133276"/>
          <a:ext cx="2240170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Многократный повторения тем на разных этапах, в разных классах на более обогащенном смысловом уровне</a:t>
          </a:r>
          <a:endParaRPr lang="ru-RU" sz="1400" b="1" kern="1200" dirty="0"/>
        </a:p>
      </dsp:txBody>
      <dsp:txXfrm>
        <a:off x="6318614" y="2164335"/>
        <a:ext cx="2178052" cy="998317"/>
      </dsp:txXfrm>
    </dsp:sp>
    <dsp:sp modelId="{7A4231BA-3350-4147-9CCA-72C7CC6C52BC}">
      <dsp:nvSpPr>
        <dsp:cNvPr id="0" name=""/>
        <dsp:cNvSpPr/>
      </dsp:nvSpPr>
      <dsp:spPr>
        <a:xfrm rot="20788631">
          <a:off x="2117465" y="2700284"/>
          <a:ext cx="459805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459805" y="1696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335873" y="2705757"/>
        <a:ext cx="22990" cy="22990"/>
      </dsp:txXfrm>
    </dsp:sp>
    <dsp:sp modelId="{B9B72AC7-87CB-4BC1-BF4C-C8B3DCF934A3}">
      <dsp:nvSpPr>
        <dsp:cNvPr id="0" name=""/>
        <dsp:cNvSpPr/>
      </dsp:nvSpPr>
      <dsp:spPr>
        <a:xfrm>
          <a:off x="2570897" y="2133276"/>
          <a:ext cx="2096184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«развития по спирали»</a:t>
          </a:r>
          <a:endParaRPr lang="ru-RU" sz="1800" b="1" kern="1200" dirty="0"/>
        </a:p>
      </dsp:txBody>
      <dsp:txXfrm>
        <a:off x="2601956" y="2164335"/>
        <a:ext cx="2034066" cy="998317"/>
      </dsp:txXfrm>
    </dsp:sp>
    <dsp:sp modelId="{DA66B1FD-195B-4038-B733-D106CEF0005F}">
      <dsp:nvSpPr>
        <dsp:cNvPr id="0" name=""/>
        <dsp:cNvSpPr/>
      </dsp:nvSpPr>
      <dsp:spPr>
        <a:xfrm rot="4911065">
          <a:off x="1343971" y="3653537"/>
          <a:ext cx="1817336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1817336" y="1696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/>
        </a:p>
      </dsp:txBody>
      <dsp:txXfrm>
        <a:off x="2207206" y="3625071"/>
        <a:ext cx="90866" cy="90866"/>
      </dsp:txXfrm>
    </dsp:sp>
    <dsp:sp modelId="{04D44553-23A7-4C7B-B161-15899F3D206D}">
      <dsp:nvSpPr>
        <dsp:cNvPr id="0" name=""/>
        <dsp:cNvSpPr/>
      </dsp:nvSpPr>
      <dsp:spPr>
        <a:xfrm>
          <a:off x="2381440" y="4039780"/>
          <a:ext cx="2379236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квозное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 развитие</a:t>
          </a:r>
          <a:endParaRPr lang="ru-RU" sz="1800" b="1" kern="1200" dirty="0"/>
        </a:p>
      </dsp:txBody>
      <dsp:txXfrm>
        <a:off x="2412499" y="4070839"/>
        <a:ext cx="2317118" cy="998317"/>
      </dsp:txXfrm>
    </dsp:sp>
    <dsp:sp modelId="{A283E075-E1E5-486A-BD8C-491ADF031ED9}">
      <dsp:nvSpPr>
        <dsp:cNvPr id="0" name=""/>
        <dsp:cNvSpPr/>
      </dsp:nvSpPr>
      <dsp:spPr>
        <a:xfrm>
          <a:off x="4760676" y="4553030"/>
          <a:ext cx="1691011" cy="33936"/>
        </a:xfrm>
        <a:custGeom>
          <a:avLst/>
          <a:gdLst/>
          <a:ahLst/>
          <a:cxnLst/>
          <a:rect l="0" t="0" r="0" b="0"/>
          <a:pathLst>
            <a:path>
              <a:moveTo>
                <a:pt x="0" y="16968"/>
              </a:moveTo>
              <a:lnTo>
                <a:pt x="1691011" y="16968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/>
        </a:p>
      </dsp:txBody>
      <dsp:txXfrm>
        <a:off x="5563907" y="4527723"/>
        <a:ext cx="84550" cy="84550"/>
      </dsp:txXfrm>
    </dsp:sp>
    <dsp:sp modelId="{AE2CCADC-DE01-4639-846F-2116E36789C1}">
      <dsp:nvSpPr>
        <dsp:cNvPr id="0" name=""/>
        <dsp:cNvSpPr/>
      </dsp:nvSpPr>
      <dsp:spPr>
        <a:xfrm>
          <a:off x="6451688" y="4039780"/>
          <a:ext cx="2120871" cy="106043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Непрерывное развитие тем внутри каждого класса </a:t>
          </a:r>
          <a:endParaRPr lang="ru-RU" sz="1600" kern="1200" dirty="0"/>
        </a:p>
      </dsp:txBody>
      <dsp:txXfrm>
        <a:off x="6482747" y="4070839"/>
        <a:ext cx="2058753" cy="99831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A09E65-089A-46D0-A093-71ED06A06EFD}">
      <dsp:nvSpPr>
        <dsp:cNvPr id="0" name=""/>
        <dsp:cNvSpPr/>
      </dsp:nvSpPr>
      <dsp:spPr>
        <a:xfrm>
          <a:off x="0" y="863608"/>
          <a:ext cx="6552728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6CBC8D-6B1C-4D83-8FCA-0091BF01CECF}">
      <dsp:nvSpPr>
        <dsp:cNvPr id="0" name=""/>
        <dsp:cNvSpPr/>
      </dsp:nvSpPr>
      <dsp:spPr>
        <a:xfrm>
          <a:off x="279312" y="159286"/>
          <a:ext cx="6234250" cy="1082231"/>
        </a:xfrm>
        <a:prstGeom prst="roundRect">
          <a:avLst/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374" tIns="0" rIns="173374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Информация в учебнике представлена в виде своеобразного диалога между учеником и автором, в котором автор предлагает обратить внимание, выделить для себя, совместно сделать вывод или поразмышлять на ту или иную тему. Учебник сопровождает ученика в его открытиях</a:t>
          </a:r>
          <a:endParaRPr lang="ru-RU" sz="1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32142" y="212116"/>
        <a:ext cx="6128590" cy="976571"/>
      </dsp:txXfrm>
    </dsp:sp>
    <dsp:sp modelId="{528D479F-C222-449B-A6D4-69386E056A6D}">
      <dsp:nvSpPr>
        <dsp:cNvPr id="0" name=""/>
        <dsp:cNvSpPr/>
      </dsp:nvSpPr>
      <dsp:spPr>
        <a:xfrm>
          <a:off x="0" y="1816168"/>
          <a:ext cx="6552728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0990A9-0679-4545-AE2D-6C763A0A98DC}">
      <dsp:nvSpPr>
        <dsp:cNvPr id="0" name=""/>
        <dsp:cNvSpPr/>
      </dsp:nvSpPr>
      <dsp:spPr>
        <a:xfrm>
          <a:off x="327636" y="1506208"/>
          <a:ext cx="5847071" cy="619920"/>
        </a:xfrm>
        <a:prstGeom prst="roundRect">
          <a:avLst/>
        </a:prstGeom>
        <a:solidFill>
          <a:srgbClr val="CC99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374" tIns="0" rIns="17337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Темы раскрываются через обращение к личностному восприятию проблемы, обращение к литературным/живописным примерам</a:t>
          </a:r>
          <a:endParaRPr lang="ru-RU" sz="2000" kern="1200" dirty="0">
            <a:solidFill>
              <a:schemeClr val="tx1"/>
            </a:solidFill>
          </a:endParaRPr>
        </a:p>
      </dsp:txBody>
      <dsp:txXfrm>
        <a:off x="357898" y="1536470"/>
        <a:ext cx="5786547" cy="559396"/>
      </dsp:txXfrm>
    </dsp:sp>
    <dsp:sp modelId="{CDFCCAE0-E8D2-4183-9C1E-310D2C345572}">
      <dsp:nvSpPr>
        <dsp:cNvPr id="0" name=""/>
        <dsp:cNvSpPr/>
      </dsp:nvSpPr>
      <dsp:spPr>
        <a:xfrm>
          <a:off x="0" y="2768728"/>
          <a:ext cx="6552728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D10896-81BE-4BBB-99B8-095F6AC85CA9}">
      <dsp:nvSpPr>
        <dsp:cNvPr id="0" name=""/>
        <dsp:cNvSpPr/>
      </dsp:nvSpPr>
      <dsp:spPr>
        <a:xfrm>
          <a:off x="327636" y="2458768"/>
          <a:ext cx="5991054" cy="619920"/>
        </a:xfrm>
        <a:prstGeom prst="roundRect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374" tIns="0" rIns="173374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Учимся размышлять и воспринимать музыку через призму своего внутреннего мира </a:t>
          </a:r>
        </a:p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>
            <a:solidFill>
              <a:schemeClr val="tx1"/>
            </a:solidFill>
          </a:endParaRPr>
        </a:p>
      </dsp:txBody>
      <dsp:txXfrm>
        <a:off x="357898" y="2489030"/>
        <a:ext cx="5930530" cy="559396"/>
      </dsp:txXfrm>
    </dsp:sp>
    <dsp:sp modelId="{1AEAA95B-DC26-40DE-9626-4B8AD87E9D79}">
      <dsp:nvSpPr>
        <dsp:cNvPr id="0" name=""/>
        <dsp:cNvSpPr/>
      </dsp:nvSpPr>
      <dsp:spPr>
        <a:xfrm>
          <a:off x="0" y="3721288"/>
          <a:ext cx="6552728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8E6847-53B1-4BA0-AB6A-6A99985A5A5B}">
      <dsp:nvSpPr>
        <dsp:cNvPr id="0" name=""/>
        <dsp:cNvSpPr/>
      </dsp:nvSpPr>
      <dsp:spPr>
        <a:xfrm>
          <a:off x="288031" y="3368907"/>
          <a:ext cx="6070270" cy="619920"/>
        </a:xfrm>
        <a:prstGeom prst="roundRect">
          <a:avLst/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374" tIns="0" rIns="173374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Каждая тема содержит проблемный вопрос, который должен быть решен каждым Учеником для себя </a:t>
          </a:r>
        </a:p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/>
        </a:p>
      </dsp:txBody>
      <dsp:txXfrm>
        <a:off x="318293" y="3399169"/>
        <a:ext cx="6009746" cy="559396"/>
      </dsp:txXfrm>
    </dsp:sp>
    <dsp:sp modelId="{3B77B71A-8A61-477D-9F58-B6333B2E18F7}">
      <dsp:nvSpPr>
        <dsp:cNvPr id="0" name=""/>
        <dsp:cNvSpPr/>
      </dsp:nvSpPr>
      <dsp:spPr>
        <a:xfrm>
          <a:off x="0" y="4673848"/>
          <a:ext cx="6552728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151B4F-B235-4B93-BBE1-8A4E531C2260}">
      <dsp:nvSpPr>
        <dsp:cNvPr id="0" name=""/>
        <dsp:cNvSpPr/>
      </dsp:nvSpPr>
      <dsp:spPr>
        <a:xfrm>
          <a:off x="327636" y="4363888"/>
          <a:ext cx="5847071" cy="619920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374" tIns="0" rIns="173374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>
              <a:solidFill>
                <a:schemeClr val="tx1"/>
              </a:solidFill>
            </a:rPr>
            <a:t>Задания, предполагающие диалог со сверстниками, учителем и самим собой 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kern="1200" dirty="0"/>
        </a:p>
      </dsp:txBody>
      <dsp:txXfrm>
        <a:off x="357898" y="4394150"/>
        <a:ext cx="5786547" cy="55939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010AC9-FE6E-4879-8F46-27B78667A877}">
      <dsp:nvSpPr>
        <dsp:cNvPr id="0" name=""/>
        <dsp:cNvSpPr/>
      </dsp:nvSpPr>
      <dsp:spPr>
        <a:xfrm>
          <a:off x="1426346" y="-33882"/>
          <a:ext cx="5361789" cy="5361789"/>
        </a:xfrm>
        <a:prstGeom prst="circularArrow">
          <a:avLst>
            <a:gd name="adj1" fmla="val 5544"/>
            <a:gd name="adj2" fmla="val 330680"/>
            <a:gd name="adj3" fmla="val 13761961"/>
            <a:gd name="adj4" fmla="val 17394469"/>
            <a:gd name="adj5" fmla="val 5757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2A33519F-3425-4040-B644-58EF664199F6}">
      <dsp:nvSpPr>
        <dsp:cNvPr id="0" name=""/>
        <dsp:cNvSpPr/>
      </dsp:nvSpPr>
      <dsp:spPr>
        <a:xfrm>
          <a:off x="2844324" y="702"/>
          <a:ext cx="2525835" cy="126291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Информационную </a:t>
          </a:r>
          <a:endParaRPr lang="ru-RU" sz="2000" kern="1200" dirty="0"/>
        </a:p>
      </dsp:txBody>
      <dsp:txXfrm>
        <a:off x="2905975" y="62353"/>
        <a:ext cx="2402533" cy="1139615"/>
      </dsp:txXfrm>
    </dsp:sp>
    <dsp:sp modelId="{F7639E42-CC27-4DE4-8762-20886AFED079}">
      <dsp:nvSpPr>
        <dsp:cNvPr id="0" name=""/>
        <dsp:cNvSpPr/>
      </dsp:nvSpPr>
      <dsp:spPr>
        <a:xfrm>
          <a:off x="5372964" y="1584175"/>
          <a:ext cx="2946740" cy="1262917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Систематизирующую </a:t>
          </a:r>
          <a:endParaRPr lang="ru-RU" sz="2000" kern="1200" dirty="0"/>
        </a:p>
      </dsp:txBody>
      <dsp:txXfrm>
        <a:off x="5434615" y="1645826"/>
        <a:ext cx="2823438" cy="1139615"/>
      </dsp:txXfrm>
    </dsp:sp>
    <dsp:sp modelId="{866B9D25-F9AE-43FA-8580-832FF3CE6EEC}">
      <dsp:nvSpPr>
        <dsp:cNvPr id="0" name=""/>
        <dsp:cNvSpPr/>
      </dsp:nvSpPr>
      <dsp:spPr>
        <a:xfrm>
          <a:off x="4188281" y="4136979"/>
          <a:ext cx="2525835" cy="126291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Мотивационную </a:t>
          </a:r>
          <a:endParaRPr lang="ru-RU" sz="2000" kern="1200" dirty="0"/>
        </a:p>
      </dsp:txBody>
      <dsp:txXfrm>
        <a:off x="4249932" y="4198630"/>
        <a:ext cx="2402533" cy="1139615"/>
      </dsp:txXfrm>
    </dsp:sp>
    <dsp:sp modelId="{59802CD4-5609-4464-B5DC-8625485779DF}">
      <dsp:nvSpPr>
        <dsp:cNvPr id="0" name=""/>
        <dsp:cNvSpPr/>
      </dsp:nvSpPr>
      <dsp:spPr>
        <a:xfrm>
          <a:off x="1500366" y="4136979"/>
          <a:ext cx="2525835" cy="126291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Развивающую познавательные возможности</a:t>
          </a:r>
          <a:endParaRPr lang="ru-RU" sz="2000" kern="1200" dirty="0"/>
        </a:p>
      </dsp:txBody>
      <dsp:txXfrm>
        <a:off x="1562017" y="4198630"/>
        <a:ext cx="2402533" cy="1139615"/>
      </dsp:txXfrm>
    </dsp:sp>
    <dsp:sp modelId="{E390A1D9-CC4E-4AB5-8666-24D80DACDFA2}">
      <dsp:nvSpPr>
        <dsp:cNvPr id="0" name=""/>
        <dsp:cNvSpPr/>
      </dsp:nvSpPr>
      <dsp:spPr>
        <a:xfrm>
          <a:off x="669754" y="1580619"/>
          <a:ext cx="2525835" cy="1262917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Координирующую </a:t>
          </a:r>
          <a:endParaRPr lang="ru-RU" sz="2000" kern="1200" dirty="0"/>
        </a:p>
      </dsp:txBody>
      <dsp:txXfrm>
        <a:off x="731405" y="1642270"/>
        <a:ext cx="2402533" cy="113961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5795AA-64C7-4DBF-BC13-D2E1CEB7F344}">
      <dsp:nvSpPr>
        <dsp:cNvPr id="0" name=""/>
        <dsp:cNvSpPr/>
      </dsp:nvSpPr>
      <dsp:spPr>
        <a:xfrm>
          <a:off x="0" y="37300"/>
          <a:ext cx="3395709" cy="110448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о время урока – на интерактивной доске, в том числе вместе с бумажным учебником</a:t>
          </a:r>
          <a:endParaRPr lang="ru-RU" sz="1600" kern="1200" dirty="0"/>
        </a:p>
      </dsp:txBody>
      <dsp:txXfrm>
        <a:off x="53916" y="91216"/>
        <a:ext cx="3287877" cy="996648"/>
      </dsp:txXfrm>
    </dsp:sp>
    <dsp:sp modelId="{1FBCC10E-4B6B-4830-8757-BEF522276966}">
      <dsp:nvSpPr>
        <dsp:cNvPr id="0" name=""/>
        <dsp:cNvSpPr/>
      </dsp:nvSpPr>
      <dsp:spPr>
        <a:xfrm>
          <a:off x="0" y="1311700"/>
          <a:ext cx="3395709" cy="110448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Во время урока – вместо бумажных учебников</a:t>
          </a:r>
          <a:endParaRPr lang="ru-RU" sz="2000" kern="1200" dirty="0"/>
        </a:p>
      </dsp:txBody>
      <dsp:txXfrm>
        <a:off x="53916" y="1365616"/>
        <a:ext cx="3287877" cy="996648"/>
      </dsp:txXfrm>
    </dsp:sp>
    <dsp:sp modelId="{8C094620-F73F-4B66-B2E9-D5CF16F8CF84}">
      <dsp:nvSpPr>
        <dsp:cNvPr id="0" name=""/>
        <dsp:cNvSpPr/>
      </dsp:nvSpPr>
      <dsp:spPr>
        <a:xfrm>
          <a:off x="0" y="2586100"/>
          <a:ext cx="3395709" cy="110448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Дома – вместо бумажных учебников</a:t>
          </a:r>
          <a:endParaRPr lang="ru-RU" sz="2000" kern="1200" dirty="0"/>
        </a:p>
      </dsp:txBody>
      <dsp:txXfrm>
        <a:off x="53916" y="2640016"/>
        <a:ext cx="3287877" cy="996648"/>
      </dsp:txXfrm>
    </dsp:sp>
    <dsp:sp modelId="{5BBEC9BE-7C9F-4B6F-9AFC-5507578A44C5}">
      <dsp:nvSpPr>
        <dsp:cNvPr id="0" name=""/>
        <dsp:cNvSpPr/>
      </dsp:nvSpPr>
      <dsp:spPr>
        <a:xfrm>
          <a:off x="0" y="3860500"/>
          <a:ext cx="3395709" cy="110448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В нестандартных ситуациях – вместо бумажного учебника</a:t>
          </a:r>
          <a:endParaRPr lang="ru-RU" sz="2000" kern="1200" dirty="0"/>
        </a:p>
      </dsp:txBody>
      <dsp:txXfrm>
        <a:off x="53916" y="3914416"/>
        <a:ext cx="3287877" cy="9966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5795AA-64C7-4DBF-BC13-D2E1CEB7F344}">
      <dsp:nvSpPr>
        <dsp:cNvPr id="0" name=""/>
        <dsp:cNvSpPr/>
      </dsp:nvSpPr>
      <dsp:spPr>
        <a:xfrm>
          <a:off x="0" y="2378"/>
          <a:ext cx="3286148" cy="79560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Быстрый переход к нужной странице</a:t>
          </a:r>
          <a:endParaRPr lang="ru-RU" sz="2000" kern="1200" dirty="0"/>
        </a:p>
      </dsp:txBody>
      <dsp:txXfrm>
        <a:off x="38838" y="41216"/>
        <a:ext cx="3208472" cy="717924"/>
      </dsp:txXfrm>
    </dsp:sp>
    <dsp:sp modelId="{1FBCC10E-4B6B-4830-8757-BEF522276966}">
      <dsp:nvSpPr>
        <dsp:cNvPr id="0" name=""/>
        <dsp:cNvSpPr/>
      </dsp:nvSpPr>
      <dsp:spPr>
        <a:xfrm>
          <a:off x="0" y="855578"/>
          <a:ext cx="3286148" cy="795600"/>
        </a:xfrm>
        <a:prstGeom prst="roundRect">
          <a:avLst/>
        </a:prstGeom>
        <a:gradFill rotWithShape="0">
          <a:gsLst>
            <a:gs pos="0">
              <a:schemeClr val="accent5">
                <a:hueOff val="-3311292"/>
                <a:satOff val="13270"/>
                <a:lumOff val="2876"/>
                <a:alphaOff val="0"/>
                <a:tint val="50000"/>
                <a:satMod val="300000"/>
              </a:schemeClr>
            </a:gs>
            <a:gs pos="35000">
              <a:schemeClr val="accent5">
                <a:hueOff val="-3311292"/>
                <a:satOff val="13270"/>
                <a:lumOff val="2876"/>
                <a:alphaOff val="0"/>
                <a:tint val="37000"/>
                <a:satMod val="300000"/>
              </a:schemeClr>
            </a:gs>
            <a:gs pos="100000">
              <a:schemeClr val="accent5">
                <a:hueOff val="-3311292"/>
                <a:satOff val="13270"/>
                <a:lumOff val="2876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Создание закладок и заметок</a:t>
          </a:r>
          <a:endParaRPr lang="ru-RU" sz="2000" kern="1200" dirty="0"/>
        </a:p>
      </dsp:txBody>
      <dsp:txXfrm>
        <a:off x="38838" y="894416"/>
        <a:ext cx="3208472" cy="717924"/>
      </dsp:txXfrm>
    </dsp:sp>
    <dsp:sp modelId="{8C094620-F73F-4B66-B2E9-D5CF16F8CF84}">
      <dsp:nvSpPr>
        <dsp:cNvPr id="0" name=""/>
        <dsp:cNvSpPr/>
      </dsp:nvSpPr>
      <dsp:spPr>
        <a:xfrm>
          <a:off x="0" y="2564357"/>
          <a:ext cx="3286148" cy="795600"/>
        </a:xfrm>
        <a:prstGeom prst="roundRect">
          <a:avLst/>
        </a:prstGeom>
        <a:gradFill rotWithShape="0">
          <a:gsLst>
            <a:gs pos="0">
              <a:schemeClr val="accent5">
                <a:hueOff val="-6622584"/>
                <a:satOff val="26541"/>
                <a:lumOff val="5752"/>
                <a:alphaOff val="0"/>
                <a:tint val="50000"/>
                <a:satMod val="300000"/>
              </a:schemeClr>
            </a:gs>
            <a:gs pos="35000">
              <a:schemeClr val="accent5">
                <a:hueOff val="-6622584"/>
                <a:satOff val="26541"/>
                <a:lumOff val="5752"/>
                <a:alphaOff val="0"/>
                <a:tint val="37000"/>
                <a:satMod val="300000"/>
              </a:schemeClr>
            </a:gs>
            <a:gs pos="100000">
              <a:schemeClr val="accent5">
                <a:hueOff val="-6622584"/>
                <a:satOff val="26541"/>
                <a:lumOff val="575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Возможность адаптации шрифта</a:t>
          </a:r>
          <a:endParaRPr lang="ru-RU" sz="2000" kern="1200" dirty="0"/>
        </a:p>
      </dsp:txBody>
      <dsp:txXfrm>
        <a:off x="38838" y="2603195"/>
        <a:ext cx="3208472" cy="717924"/>
      </dsp:txXfrm>
    </dsp:sp>
    <dsp:sp modelId="{5BBEC9BE-7C9F-4B6F-9AFC-5507578A44C5}">
      <dsp:nvSpPr>
        <dsp:cNvPr id="0" name=""/>
        <dsp:cNvSpPr/>
      </dsp:nvSpPr>
      <dsp:spPr>
        <a:xfrm>
          <a:off x="0" y="1714514"/>
          <a:ext cx="3286148" cy="795600"/>
        </a:xfrm>
        <a:prstGeom prst="roundRect">
          <a:avLst/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tint val="50000"/>
                <a:satMod val="300000"/>
              </a:schemeClr>
            </a:gs>
            <a:gs pos="35000">
              <a:schemeClr val="accent5">
                <a:hueOff val="-9933876"/>
                <a:satOff val="39811"/>
                <a:lumOff val="8628"/>
                <a:alphaOff val="0"/>
                <a:tint val="37000"/>
                <a:satMod val="30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иск по тексту</a:t>
          </a:r>
          <a:endParaRPr lang="ru-RU" sz="2000" kern="1200" dirty="0"/>
        </a:p>
      </dsp:txBody>
      <dsp:txXfrm>
        <a:off x="38838" y="1753352"/>
        <a:ext cx="3208472" cy="71792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F745A7-BF28-46FE-B626-57C0D3D253FE}">
      <dsp:nvSpPr>
        <dsp:cNvPr id="0" name=""/>
        <dsp:cNvSpPr/>
      </dsp:nvSpPr>
      <dsp:spPr>
        <a:xfrm rot="5400000">
          <a:off x="-147897" y="238591"/>
          <a:ext cx="985981" cy="690187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1</a:t>
          </a:r>
          <a:endParaRPr lang="ru-RU" sz="1900" kern="1200" dirty="0"/>
        </a:p>
      </dsp:txBody>
      <dsp:txXfrm rot="-5400000">
        <a:off x="1" y="435788"/>
        <a:ext cx="690187" cy="295794"/>
      </dsp:txXfrm>
    </dsp:sp>
    <dsp:sp modelId="{C894890F-4646-43C8-84F8-4DE21D700213}">
      <dsp:nvSpPr>
        <dsp:cNvPr id="0" name=""/>
        <dsp:cNvSpPr/>
      </dsp:nvSpPr>
      <dsp:spPr>
        <a:xfrm rot="5400000">
          <a:off x="4123162" y="-3420232"/>
          <a:ext cx="796790" cy="76627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32" tIns="22860" rIns="22860" bIns="22860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3600" kern="1200" dirty="0"/>
        </a:p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kumimoji="0" lang="ru-RU" sz="1400" b="1" i="1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Облегчение  понимания изучаемого материала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за счет иных, нежели в печатной учебной литературе, способов подачи материала: индуктивный подход, воздействие на слуховую и эмоциональную память и т.п.</a:t>
          </a:r>
          <a:endParaRPr kumimoji="0" lang="ru-RU" sz="1400" b="0" i="0" u="none" strike="noStrike" kern="1200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endParaRPr lang="ru-RU" kern="1200" dirty="0"/>
        </a:p>
        <a:p>
          <a:pPr marL="228600" lvl="1" indent="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</dsp:txBody>
      <dsp:txXfrm rot="-5400000">
        <a:off x="690187" y="51639"/>
        <a:ext cx="7623844" cy="718998"/>
      </dsp:txXfrm>
    </dsp:sp>
    <dsp:sp modelId="{551CA619-D21A-426E-B3D3-57A653F9148C}">
      <dsp:nvSpPr>
        <dsp:cNvPr id="0" name=""/>
        <dsp:cNvSpPr/>
      </dsp:nvSpPr>
      <dsp:spPr>
        <a:xfrm rot="5400000">
          <a:off x="-147897" y="1209442"/>
          <a:ext cx="985981" cy="690187"/>
        </a:xfrm>
        <a:prstGeom prst="chevron">
          <a:avLst/>
        </a:prstGeom>
        <a:solidFill>
          <a:schemeClr val="accent5">
            <a:hueOff val="-2483469"/>
            <a:satOff val="9953"/>
            <a:lumOff val="2157"/>
            <a:alphaOff val="0"/>
          </a:schemeClr>
        </a:solidFill>
        <a:ln w="25400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2</a:t>
          </a:r>
          <a:endParaRPr lang="ru-RU" sz="1900" kern="1200" dirty="0"/>
        </a:p>
      </dsp:txBody>
      <dsp:txXfrm rot="-5400000">
        <a:off x="1" y="1406639"/>
        <a:ext cx="690187" cy="295794"/>
      </dsp:txXfrm>
    </dsp:sp>
    <dsp:sp modelId="{C5FF7BA3-7914-481A-A061-A1170BEC1406}">
      <dsp:nvSpPr>
        <dsp:cNvPr id="0" name=""/>
        <dsp:cNvSpPr/>
      </dsp:nvSpPr>
      <dsp:spPr>
        <a:xfrm rot="5400000">
          <a:off x="4111459" y="-2449380"/>
          <a:ext cx="820195" cy="76627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32" tIns="22860" rIns="22860" bIns="22860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3600" kern="1200" dirty="0"/>
        </a:p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kumimoji="0" lang="ru-RU" sz="1400" b="1" i="1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Адаптация  в соответствии с потребностями учащегося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 уровнем его подготовки, интеллектуальными возможностями и амбициями.</a:t>
          </a:r>
          <a:endParaRPr kumimoji="0" lang="ru-RU" sz="1400" b="0" i="0" u="none" strike="noStrike" kern="1200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>
            <a:spcBef>
              <a:spcPct val="0"/>
            </a:spcBef>
            <a:buChar char="••"/>
          </a:pPr>
          <a:endParaRPr lang="ru-RU" kern="1200" dirty="0"/>
        </a:p>
        <a:p>
          <a:pPr marL="228600" lvl="1" indent="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</dsp:txBody>
      <dsp:txXfrm rot="-5400000">
        <a:off x="690187" y="1011931"/>
        <a:ext cx="7622701" cy="740117"/>
      </dsp:txXfrm>
    </dsp:sp>
    <dsp:sp modelId="{6D2BC7D0-7225-4A90-B348-0CC7A9CBA976}">
      <dsp:nvSpPr>
        <dsp:cNvPr id="0" name=""/>
        <dsp:cNvSpPr/>
      </dsp:nvSpPr>
      <dsp:spPr>
        <a:xfrm rot="5400000">
          <a:off x="-147897" y="2221025"/>
          <a:ext cx="985981" cy="690187"/>
        </a:xfrm>
        <a:prstGeom prst="chevron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3</a:t>
          </a:r>
          <a:endParaRPr lang="ru-RU" sz="1900" kern="1200" dirty="0"/>
        </a:p>
      </dsp:txBody>
      <dsp:txXfrm rot="-5400000">
        <a:off x="1" y="2418222"/>
        <a:ext cx="690187" cy="295794"/>
      </dsp:txXfrm>
    </dsp:sp>
    <dsp:sp modelId="{E67297FB-797D-4E75-AFFA-54AAA93E6B4F}">
      <dsp:nvSpPr>
        <dsp:cNvPr id="0" name=""/>
        <dsp:cNvSpPr/>
      </dsp:nvSpPr>
      <dsp:spPr>
        <a:xfrm rot="5400000">
          <a:off x="4070728" y="-1437797"/>
          <a:ext cx="901659" cy="76627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228600" lvl="1" indent="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>
            <a:latin typeface="Times New Roman" pitchFamily="18" charset="0"/>
            <a:cs typeface="Times New Roman" pitchFamily="18" charset="0"/>
          </a:endParaRPr>
        </a:p>
        <a:p>
          <a:pPr marL="0" marR="0" lvl="8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kumimoji="0" lang="ru-RU" sz="1400" b="1" i="1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Освобождение от громоздких действий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позволяя сосредоточиться на сути предмета, рассмотреть большее количество примеров и решить больше заданий.</a:t>
          </a:r>
          <a:endParaRPr kumimoji="0" lang="ru-RU" sz="1400" b="0" i="0" u="none" strike="noStrike" kern="1200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228600" indent="0" algn="l" defTabSz="1200150">
            <a:lnSpc>
              <a:spcPct val="90000"/>
            </a:lnSpc>
            <a:spcBef>
              <a:spcPct val="0"/>
            </a:spcBef>
            <a:buChar char="••"/>
          </a:pPr>
          <a:endParaRPr lang="ru-RU" sz="1400" kern="1200" dirty="0">
            <a:latin typeface="Times New Roman" pitchFamily="18" charset="0"/>
            <a:cs typeface="Times New Roman" pitchFamily="18" charset="0"/>
          </a:endParaRPr>
        </a:p>
      </dsp:txBody>
      <dsp:txXfrm rot="-5400000">
        <a:off x="690188" y="1986758"/>
        <a:ext cx="7618725" cy="813629"/>
      </dsp:txXfrm>
    </dsp:sp>
    <dsp:sp modelId="{586C33AA-98AA-489F-81F4-2A8231C1E0E9}">
      <dsp:nvSpPr>
        <dsp:cNvPr id="0" name=""/>
        <dsp:cNvSpPr/>
      </dsp:nvSpPr>
      <dsp:spPr>
        <a:xfrm rot="5400000">
          <a:off x="-147897" y="3102223"/>
          <a:ext cx="985981" cy="690187"/>
        </a:xfrm>
        <a:prstGeom prst="chevron">
          <a:avLst/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4</a:t>
          </a:r>
          <a:endParaRPr lang="ru-RU" sz="1900" kern="1200" dirty="0"/>
        </a:p>
      </dsp:txBody>
      <dsp:txXfrm rot="-5400000">
        <a:off x="1" y="3299420"/>
        <a:ext cx="690187" cy="295794"/>
      </dsp:txXfrm>
    </dsp:sp>
    <dsp:sp modelId="{0E6E0EB2-814B-4563-AA1F-1AF59854E63A}">
      <dsp:nvSpPr>
        <dsp:cNvPr id="0" name=""/>
        <dsp:cNvSpPr/>
      </dsp:nvSpPr>
      <dsp:spPr>
        <a:xfrm rot="5400000">
          <a:off x="4201113" y="-556600"/>
          <a:ext cx="640888" cy="76627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sz="1400" b="1" i="0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 Самопроверка на всех этапах работы</a:t>
          </a:r>
          <a:endParaRPr lang="ru-RU" sz="1400" b="1" i="0" kern="1200" dirty="0">
            <a:solidFill>
              <a:srgbClr val="FF0000"/>
            </a:solidFill>
          </a:endParaRPr>
        </a:p>
      </dsp:txBody>
      <dsp:txXfrm rot="-5400000">
        <a:off x="690187" y="2985612"/>
        <a:ext cx="7631454" cy="578316"/>
      </dsp:txXfrm>
    </dsp:sp>
    <dsp:sp modelId="{3562004F-97AA-42B2-A85E-9FFC0E002C1C}">
      <dsp:nvSpPr>
        <dsp:cNvPr id="0" name=""/>
        <dsp:cNvSpPr/>
      </dsp:nvSpPr>
      <dsp:spPr>
        <a:xfrm rot="5400000">
          <a:off x="-147897" y="4189732"/>
          <a:ext cx="985981" cy="690187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/>
            <a:t>5</a:t>
          </a:r>
          <a:endParaRPr lang="ru-RU" sz="1900" kern="1200" dirty="0"/>
        </a:p>
      </dsp:txBody>
      <dsp:txXfrm rot="-5400000">
        <a:off x="1" y="4386929"/>
        <a:ext cx="690187" cy="295794"/>
      </dsp:txXfrm>
    </dsp:sp>
    <dsp:sp modelId="{CD5C15C0-8F6A-4808-8A44-9403D9BF7CC9}">
      <dsp:nvSpPr>
        <dsp:cNvPr id="0" name=""/>
        <dsp:cNvSpPr/>
      </dsp:nvSpPr>
      <dsp:spPr>
        <a:xfrm rot="5400000">
          <a:off x="3994802" y="530909"/>
          <a:ext cx="1053511" cy="76627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kumimoji="0" lang="ru-RU" sz="1400" b="1" i="1" u="none" strike="noStrike" kern="1200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Роль терпеливого наставника</a:t>
          </a:r>
          <a:r>
            <a:rPr kumimoji="0" lang="ru-RU" sz="1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rPr>
            <a:t>, предоставляя практически неограниченное количество разъяснений, повторений, подсказок и проч.</a:t>
          </a:r>
        </a:p>
        <a:p>
          <a:pPr>
            <a:spcBef>
              <a:spcPct val="0"/>
            </a:spcBef>
            <a:buChar char="••"/>
          </a:pPr>
          <a:endParaRPr lang="ru-RU" kern="1200" dirty="0"/>
        </a:p>
      </dsp:txBody>
      <dsp:txXfrm rot="-5400000">
        <a:off x="690188" y="3886951"/>
        <a:ext cx="7611312" cy="95065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40E199-966D-4932-BDD6-DEF76E02F41F}">
      <dsp:nvSpPr>
        <dsp:cNvPr id="0" name=""/>
        <dsp:cNvSpPr/>
      </dsp:nvSpPr>
      <dsp:spPr>
        <a:xfrm>
          <a:off x="2906318" y="323071"/>
          <a:ext cx="2712290" cy="73926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Для каждого</a:t>
          </a:r>
          <a:endParaRPr lang="ru-RU" sz="2200" kern="1200" dirty="0"/>
        </a:p>
      </dsp:txBody>
      <dsp:txXfrm>
        <a:off x="2942406" y="359159"/>
        <a:ext cx="2640114" cy="667089"/>
      </dsp:txXfrm>
    </dsp:sp>
    <dsp:sp modelId="{FDDC6B1A-DBF6-46C0-9C7D-46799FF085C8}">
      <dsp:nvSpPr>
        <dsp:cNvPr id="0" name=""/>
        <dsp:cNvSpPr/>
      </dsp:nvSpPr>
      <dsp:spPr>
        <a:xfrm>
          <a:off x="2344094" y="1018365"/>
          <a:ext cx="3976689" cy="3976689"/>
        </a:xfrm>
        <a:custGeom>
          <a:avLst/>
          <a:gdLst/>
          <a:ahLst/>
          <a:cxnLst/>
          <a:rect l="0" t="0" r="0" b="0"/>
          <a:pathLst>
            <a:path>
              <a:moveTo>
                <a:pt x="2420728" y="47582"/>
              </a:moveTo>
              <a:arcTo wR="1988344" hR="1988344" stAng="16953589" swAng="2964669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8B1B9A-529F-4706-A481-C218394D1A99}">
      <dsp:nvSpPr>
        <dsp:cNvPr id="0" name=""/>
        <dsp:cNvSpPr/>
      </dsp:nvSpPr>
      <dsp:spPr>
        <a:xfrm>
          <a:off x="5175011" y="2087325"/>
          <a:ext cx="2827207" cy="750424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Мотивирующее на учение </a:t>
          </a:r>
          <a:endParaRPr lang="ru-RU" sz="2200" kern="1200" dirty="0"/>
        </a:p>
      </dsp:txBody>
      <dsp:txXfrm>
        <a:off x="5211644" y="2123958"/>
        <a:ext cx="2753941" cy="677158"/>
      </dsp:txXfrm>
    </dsp:sp>
    <dsp:sp modelId="{5DF8A79B-3DA8-4BD9-B4BD-9619774A79AB}">
      <dsp:nvSpPr>
        <dsp:cNvPr id="0" name=""/>
        <dsp:cNvSpPr/>
      </dsp:nvSpPr>
      <dsp:spPr>
        <a:xfrm>
          <a:off x="2688144" y="199391"/>
          <a:ext cx="3976689" cy="3976689"/>
        </a:xfrm>
        <a:custGeom>
          <a:avLst/>
          <a:gdLst/>
          <a:ahLst/>
          <a:cxnLst/>
          <a:rect l="0" t="0" r="0" b="0"/>
          <a:pathLst>
            <a:path>
              <a:moveTo>
                <a:pt x="3862814" y="2651577"/>
              </a:moveTo>
              <a:arcTo wR="1988344" hR="1988344" stAng="1169100" swAng="2425845"/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D9CDD-97E8-4907-B551-93D3B3E42FF8}">
      <dsp:nvSpPr>
        <dsp:cNvPr id="0" name=""/>
        <dsp:cNvSpPr/>
      </dsp:nvSpPr>
      <dsp:spPr>
        <a:xfrm>
          <a:off x="3096345" y="3816433"/>
          <a:ext cx="2564704" cy="132578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2200" kern="1200" dirty="0" smtClean="0"/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200" kern="1200" dirty="0" smtClean="0"/>
            <a:t>Захватывающее, эффективное, развивающее, 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200" kern="1200" dirty="0" smtClean="0"/>
            <a:t>комфортное 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kern="1200" dirty="0"/>
        </a:p>
      </dsp:txBody>
      <dsp:txXfrm>
        <a:off x="3161064" y="3881152"/>
        <a:ext cx="2435266" cy="1196342"/>
      </dsp:txXfrm>
    </dsp:sp>
    <dsp:sp modelId="{CD0D8949-AE0C-4ECB-A31C-E1FA38B961D2}">
      <dsp:nvSpPr>
        <dsp:cNvPr id="0" name=""/>
        <dsp:cNvSpPr/>
      </dsp:nvSpPr>
      <dsp:spPr>
        <a:xfrm>
          <a:off x="1873964" y="302651"/>
          <a:ext cx="3976689" cy="3976689"/>
        </a:xfrm>
        <a:custGeom>
          <a:avLst/>
          <a:gdLst/>
          <a:ahLst/>
          <a:cxnLst/>
          <a:rect l="0" t="0" r="0" b="0"/>
          <a:pathLst>
            <a:path>
              <a:moveTo>
                <a:pt x="1205832" y="3816236"/>
              </a:moveTo>
              <a:arcTo wR="1988344" hR="1988344" stAng="6790533" swAng="3161076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4868D1-AF69-4BBE-9260-DE4B042A5E92}">
      <dsp:nvSpPr>
        <dsp:cNvPr id="0" name=""/>
        <dsp:cNvSpPr/>
      </dsp:nvSpPr>
      <dsp:spPr>
        <a:xfrm>
          <a:off x="530145" y="2020007"/>
          <a:ext cx="2758627" cy="739277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400" kern="1200" dirty="0" smtClean="0"/>
            <a:t>В любом месте,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400" kern="1200" dirty="0" smtClean="0"/>
            <a:t> в любое время</a:t>
          </a:r>
          <a:endParaRPr lang="ru-RU" sz="2400" kern="1200" dirty="0"/>
        </a:p>
      </dsp:txBody>
      <dsp:txXfrm>
        <a:off x="566234" y="2056096"/>
        <a:ext cx="2686449" cy="667099"/>
      </dsp:txXfrm>
    </dsp:sp>
    <dsp:sp modelId="{5BBD339B-6C61-4854-A251-10D265BB0605}">
      <dsp:nvSpPr>
        <dsp:cNvPr id="0" name=""/>
        <dsp:cNvSpPr/>
      </dsp:nvSpPr>
      <dsp:spPr>
        <a:xfrm>
          <a:off x="2157531" y="1022514"/>
          <a:ext cx="3976689" cy="3976689"/>
        </a:xfrm>
        <a:custGeom>
          <a:avLst/>
          <a:gdLst/>
          <a:ahLst/>
          <a:cxnLst/>
          <a:rect l="0" t="0" r="0" b="0"/>
          <a:pathLst>
            <a:path>
              <a:moveTo>
                <a:pt x="272691" y="983333"/>
              </a:moveTo>
              <a:arcTo wR="1988344" hR="1988344" stAng="12621680" swAng="2860829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B9C82-4C28-4C4E-892F-F528D18C9AFD}" type="datetimeFigureOut">
              <a:rPr lang="ru-RU" smtClean="0"/>
              <a:pPr/>
              <a:t>29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4876EE-0A78-4ABC-9A78-551F5737D7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83278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AD72B5-9CAA-49BB-ADA9-733671B3AB1D}" type="datetimeFigureOut">
              <a:rPr lang="ru-RU" smtClean="0"/>
              <a:pPr/>
              <a:t>29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B297C-843D-43A6-A432-65C9F9264B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721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PlaceHolder 1"/>
          <p:cNvSpPr>
            <a:spLocks noGrp="1"/>
          </p:cNvSpPr>
          <p:nvPr>
            <p:ph type="body"/>
          </p:nvPr>
        </p:nvSpPr>
        <p:spPr>
          <a:xfrm>
            <a:off x="622145" y="3714622"/>
            <a:ext cx="4975203" cy="3517885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544" name="CustomShape 2"/>
          <p:cNvSpPr/>
          <p:nvPr/>
        </p:nvSpPr>
        <p:spPr>
          <a:xfrm>
            <a:off x="3524184" y="7428013"/>
            <a:ext cx="2694004" cy="389166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24C87DC4-E56E-4A0B-93E4-A629D80DCE04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27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" name="CustomShape 1"/>
          <p:cNvSpPr/>
          <p:nvPr/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fld id="{342C0644-2350-4488-93DF-78B8A47B0202}" type="slidenum">
              <a:rPr lang="ru-RU">
                <a:solidFill>
                  <a:srgbClr val="000000"/>
                </a:solidFill>
                <a:latin typeface="+mn-lt"/>
                <a:ea typeface="+mn-ea"/>
              </a:rPr>
              <a:pPr>
                <a:lnSpc>
                  <a:spcPct val="100000"/>
                </a:lnSpc>
              </a:pPr>
              <a:t>33</a:t>
            </a:fld>
            <a:endParaRPr/>
          </a:p>
        </p:txBody>
      </p:sp>
      <p:sp>
        <p:nvSpPr>
          <p:cNvPr id="770" name="PlaceHolder 2"/>
          <p:cNvSpPr>
            <a:spLocks noGrp="1"/>
          </p:cNvSpPr>
          <p:nvPr>
            <p:ph type="body"/>
          </p:nvPr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r>
              <a:rPr lang="ru-RU"/>
              <a:t>39=5-10</a:t>
            </a: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" name="CustomShape 1"/>
          <p:cNvSpPr/>
          <p:nvPr/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fld id="{342C0644-2350-4488-93DF-78B8A47B0202}" type="slidenum">
              <a:rPr lang="ru-RU">
                <a:solidFill>
                  <a:srgbClr val="000000"/>
                </a:solidFill>
                <a:latin typeface="+mn-lt"/>
                <a:ea typeface="+mn-ea"/>
              </a:rPr>
              <a:pPr>
                <a:lnSpc>
                  <a:spcPct val="100000"/>
                </a:lnSpc>
              </a:pPr>
              <a:t>34</a:t>
            </a:fld>
            <a:endParaRPr/>
          </a:p>
        </p:txBody>
      </p:sp>
      <p:sp>
        <p:nvSpPr>
          <p:cNvPr id="770" name="PlaceHolder 2"/>
          <p:cNvSpPr>
            <a:spLocks noGrp="1"/>
          </p:cNvSpPr>
          <p:nvPr>
            <p:ph type="body"/>
          </p:nvPr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r>
              <a:rPr lang="ru-RU"/>
              <a:t>39=5-10</a:t>
            </a: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" name="CustomShape 1"/>
          <p:cNvSpPr/>
          <p:nvPr/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fld id="{342C0644-2350-4488-93DF-78B8A47B0202}" type="slidenum">
              <a:rPr lang="ru-RU">
                <a:solidFill>
                  <a:srgbClr val="000000"/>
                </a:solidFill>
                <a:latin typeface="+mn-lt"/>
                <a:ea typeface="+mn-ea"/>
              </a:rPr>
              <a:pPr>
                <a:lnSpc>
                  <a:spcPct val="100000"/>
                </a:lnSpc>
              </a:pPr>
              <a:t>35</a:t>
            </a:fld>
            <a:endParaRPr/>
          </a:p>
        </p:txBody>
      </p:sp>
      <p:sp>
        <p:nvSpPr>
          <p:cNvPr id="770" name="PlaceHolder 2"/>
          <p:cNvSpPr>
            <a:spLocks noGrp="1"/>
          </p:cNvSpPr>
          <p:nvPr>
            <p:ph type="body"/>
          </p:nvPr>
        </p:nvSpPr>
        <p:spPr>
          <a:xfrm>
            <a:off x="1" y="0"/>
            <a:ext cx="11794680" cy="11794680"/>
          </a:xfrm>
          <a:prstGeom prst="rect">
            <a:avLst/>
          </a:prstGeom>
        </p:spPr>
        <p:txBody>
          <a:bodyPr lIns="89989" tIns="44995" rIns="89989" bIns="44995"/>
          <a:lstStyle/>
          <a:p>
            <a:pPr>
              <a:lnSpc>
                <a:spcPct val="100000"/>
              </a:lnSpc>
            </a:pPr>
            <a:r>
              <a:rPr lang="ru-RU"/>
              <a:t>39=5-10</a:t>
            </a: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C194B15A-4C7C-4C89-A971-169D8BCC4153}" type="slidenum">
              <a:rPr lang="ru-RU" smtClean="0">
                <a:ea typeface="Microsoft YaHei" pitchFamily="34" charset="-122"/>
                <a:cs typeface="Segoe UI" pitchFamily="34" charset="0"/>
              </a:rPr>
              <a:pPr/>
              <a:t>38</a:t>
            </a:fld>
            <a:endParaRPr lang="ru-RU" smtClean="0"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2048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31888" y="677863"/>
            <a:ext cx="45942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048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dirty="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9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C194B15A-4C7C-4C89-A971-169D8BCC4153}" type="slidenum">
              <a:rPr lang="ru-RU" smtClean="0">
                <a:ea typeface="Microsoft YaHei" pitchFamily="34" charset="-122"/>
                <a:cs typeface="Segoe UI" pitchFamily="34" charset="0"/>
              </a:rPr>
              <a:pPr/>
              <a:t>42</a:t>
            </a:fld>
            <a:endParaRPr lang="ru-RU" smtClean="0"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2048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31888" y="677863"/>
            <a:ext cx="45942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048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dirty="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C194B15A-4C7C-4C89-A971-169D8BCC4153}" type="slidenum">
              <a:rPr lang="ru-RU" smtClean="0">
                <a:ea typeface="Microsoft YaHei" pitchFamily="34" charset="-122"/>
                <a:cs typeface="Segoe UI" pitchFamily="34" charset="0"/>
              </a:rPr>
              <a:pPr/>
              <a:t>43</a:t>
            </a:fld>
            <a:endParaRPr lang="ru-RU" smtClean="0"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2048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31888" y="677863"/>
            <a:ext cx="45942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048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C194B15A-4C7C-4C89-A971-169D8BCC4153}" type="slidenum">
              <a:rPr lang="ru-RU" smtClean="0">
                <a:ea typeface="Microsoft YaHei" pitchFamily="34" charset="-122"/>
                <a:cs typeface="Segoe UI" pitchFamily="34" charset="0"/>
              </a:rPr>
              <a:pPr/>
              <a:t>44</a:t>
            </a:fld>
            <a:endParaRPr lang="ru-RU" smtClean="0"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2048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31888" y="677863"/>
            <a:ext cx="45942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048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C194B15A-4C7C-4C89-A971-169D8BCC4153}" type="slidenum">
              <a:rPr lang="ru-RU" smtClean="0">
                <a:ea typeface="Microsoft YaHei" pitchFamily="34" charset="-122"/>
                <a:cs typeface="Segoe UI" pitchFamily="34" charset="0"/>
              </a:rPr>
              <a:pPr/>
              <a:t>46</a:t>
            </a:fld>
            <a:endParaRPr lang="ru-RU" smtClean="0"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2048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31888" y="677863"/>
            <a:ext cx="4594225" cy="3444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048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dirty="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67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69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7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7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>
                <a:solidFill>
                  <a:prstClr val="black"/>
                </a:solidFill>
              </a:rPr>
              <a:pPr/>
              <a:t>72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73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>
                <a:solidFill>
                  <a:prstClr val="black"/>
                </a:solidFill>
              </a:rPr>
              <a:pPr/>
              <a:t>74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PlaceHolder 1"/>
          <p:cNvSpPr>
            <a:spLocks noGrp="1"/>
          </p:cNvSpPr>
          <p:nvPr>
            <p:ph type="body"/>
          </p:nvPr>
        </p:nvSpPr>
        <p:spPr>
          <a:xfrm>
            <a:off x="622146" y="3714623"/>
            <a:ext cx="4976509" cy="3518808"/>
          </a:xfrm>
          <a:prstGeom prst="rect">
            <a:avLst/>
          </a:prstGeom>
        </p:spPr>
        <p:txBody>
          <a:bodyPr lIns="78903" tIns="39452" rIns="78903" bIns="39452"/>
          <a:lstStyle/>
          <a:p>
            <a:pPr>
              <a:lnSpc>
                <a:spcPct val="100000"/>
              </a:lnSpc>
              <a:buFont typeface="Calibri"/>
              <a:buChar char="•"/>
            </a:pPr>
            <a:r>
              <a:rPr lang="ru-RU">
                <a:latin typeface="Calibri"/>
                <a:ea typeface="Microsoft YaHei"/>
              </a:rPr>
              <a:t>Не следует принимать это приложение к учебнику за учебные прописи, с которыми имеют дело школьники на первых порах обучения. Недаром первое упоминание о блокноте появляется на тех страницах учебника, где речь идет о записной книжке композитора П.И. Чайковского, который часто обдумывал свои музыкальные идеи во время прогулок.  </a:t>
            </a:r>
            <a:endParaRPr/>
          </a:p>
          <a:p>
            <a:pPr>
              <a:lnSpc>
                <a:spcPct val="100000"/>
              </a:lnSpc>
            </a:pPr>
            <a:endParaRPr/>
          </a:p>
        </p:txBody>
      </p:sp>
      <p:sp>
        <p:nvSpPr>
          <p:cNvPr id="536" name="CustomShape 2"/>
          <p:cNvSpPr/>
          <p:nvPr/>
        </p:nvSpPr>
        <p:spPr>
          <a:xfrm>
            <a:off x="3524184" y="7428014"/>
            <a:ext cx="2695310" cy="390397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4C381A1D-9D7B-4E23-A0BD-AA07C2831BEE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1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PlaceHolder 1"/>
          <p:cNvSpPr>
            <a:spLocks noGrp="1"/>
          </p:cNvSpPr>
          <p:nvPr>
            <p:ph type="body"/>
          </p:nvPr>
        </p:nvSpPr>
        <p:spPr>
          <a:xfrm>
            <a:off x="622146" y="3714623"/>
            <a:ext cx="4976509" cy="3518808"/>
          </a:xfrm>
          <a:prstGeom prst="rect">
            <a:avLst/>
          </a:prstGeom>
        </p:spPr>
        <p:txBody>
          <a:bodyPr lIns="78903" tIns="39452" rIns="78903" bIns="39452"/>
          <a:lstStyle/>
          <a:p>
            <a:pPr>
              <a:lnSpc>
                <a:spcPct val="100000"/>
              </a:lnSpc>
              <a:buFont typeface="Calibri"/>
              <a:buChar char="•"/>
            </a:pPr>
            <a:r>
              <a:rPr lang="ru-RU">
                <a:latin typeface="Calibri"/>
                <a:ea typeface="Microsoft YaHei"/>
              </a:rPr>
              <a:t>Не следует принимать это приложение к учебнику за учебные прописи, с которыми имеют дело школьники на первых порах обучения. Недаром первое упоминание о блокноте появляется на тех страницах учебника, где речь идет о записной книжке композитора П.И. Чайковского, который часто обдумывал свои музыкальные идеи во время прогулок.  </a:t>
            </a:r>
            <a:endParaRPr/>
          </a:p>
          <a:p>
            <a:pPr>
              <a:lnSpc>
                <a:spcPct val="100000"/>
              </a:lnSpc>
            </a:pPr>
            <a:endParaRPr/>
          </a:p>
        </p:txBody>
      </p:sp>
      <p:sp>
        <p:nvSpPr>
          <p:cNvPr id="538" name="CustomShape 2"/>
          <p:cNvSpPr/>
          <p:nvPr/>
        </p:nvSpPr>
        <p:spPr>
          <a:xfrm>
            <a:off x="3524184" y="7428014"/>
            <a:ext cx="2695310" cy="390397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63F9F71C-6E8C-4F92-BB81-FC96C8377304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14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PlaceHolder 1"/>
          <p:cNvSpPr>
            <a:spLocks noGrp="1"/>
          </p:cNvSpPr>
          <p:nvPr>
            <p:ph type="body"/>
          </p:nvPr>
        </p:nvSpPr>
        <p:spPr>
          <a:xfrm>
            <a:off x="622146" y="3714623"/>
            <a:ext cx="4976509" cy="3519116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546" name="CustomShape 2"/>
          <p:cNvSpPr/>
          <p:nvPr/>
        </p:nvSpPr>
        <p:spPr>
          <a:xfrm>
            <a:off x="3524184" y="7428014"/>
            <a:ext cx="2695310" cy="390397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17E96F93-889D-4948-878A-470231517513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19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" name="PlaceHolder 1"/>
          <p:cNvSpPr>
            <a:spLocks noGrp="1"/>
          </p:cNvSpPr>
          <p:nvPr>
            <p:ph type="body"/>
          </p:nvPr>
        </p:nvSpPr>
        <p:spPr>
          <a:xfrm>
            <a:off x="622145" y="3714622"/>
            <a:ext cx="4975530" cy="3517885"/>
          </a:xfrm>
          <a:prstGeom prst="rect">
            <a:avLst/>
          </a:prstGeom>
        </p:spPr>
        <p:txBody>
          <a:bodyPr lIns="78903" tIns="39452" rIns="78903" bIns="39452"/>
          <a:lstStyle/>
          <a:p>
            <a:pPr>
              <a:lnSpc>
                <a:spcPct val="100000"/>
              </a:lnSpc>
              <a:buFont typeface="Calibri"/>
              <a:buChar char="•"/>
            </a:pPr>
            <a:r>
              <a:rPr lang="ru-RU">
                <a:latin typeface="Calibri"/>
                <a:ea typeface="Microsoft YaHei"/>
              </a:rPr>
              <a:t>Не следует принимать это приложение к учебнику за учебные прописи, с которыми имеют дело школьники на первых порах обучения. Недаром первое упоминание о блокноте появляется на тех страницах учебника, где речь идет о записной книжке композитора П.И. Чайковского, который часто обдумывал свои музыкальные идеи во время прогулок.  </a:t>
            </a:r>
            <a:endParaRPr/>
          </a:p>
          <a:p>
            <a:pPr>
              <a:lnSpc>
                <a:spcPct val="100000"/>
              </a:lnSpc>
            </a:pPr>
            <a:endParaRPr/>
          </a:p>
        </p:txBody>
      </p:sp>
      <p:sp>
        <p:nvSpPr>
          <p:cNvPr id="540" name="CustomShape 2"/>
          <p:cNvSpPr/>
          <p:nvPr/>
        </p:nvSpPr>
        <p:spPr>
          <a:xfrm>
            <a:off x="3524184" y="7428014"/>
            <a:ext cx="2694330" cy="389473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928437E2-C8D7-4401-B548-A69381B6E912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20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PlaceHolder 1"/>
          <p:cNvSpPr>
            <a:spLocks noGrp="1"/>
          </p:cNvSpPr>
          <p:nvPr>
            <p:ph type="body"/>
          </p:nvPr>
        </p:nvSpPr>
        <p:spPr>
          <a:xfrm>
            <a:off x="622146" y="3714623"/>
            <a:ext cx="4976509" cy="3519116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548" name="CustomShape 2"/>
          <p:cNvSpPr/>
          <p:nvPr/>
        </p:nvSpPr>
        <p:spPr>
          <a:xfrm>
            <a:off x="3524184" y="7428014"/>
            <a:ext cx="2695310" cy="390397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FDCD403C-B373-438A-925B-4BD75FCEAC56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21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PlaceHolder 1"/>
          <p:cNvSpPr>
            <a:spLocks noGrp="1"/>
          </p:cNvSpPr>
          <p:nvPr>
            <p:ph type="body"/>
          </p:nvPr>
        </p:nvSpPr>
        <p:spPr>
          <a:xfrm>
            <a:off x="622145" y="3714622"/>
            <a:ext cx="4975203" cy="3517885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542" name="CustomShape 2"/>
          <p:cNvSpPr/>
          <p:nvPr/>
        </p:nvSpPr>
        <p:spPr>
          <a:xfrm>
            <a:off x="3524184" y="7428013"/>
            <a:ext cx="2694004" cy="389166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D41CF1D3-B08C-438B-BF65-989A0887B2F6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22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/>
          </p:cNvSpPr>
          <p:nvPr>
            <p:ph type="body"/>
          </p:nvPr>
        </p:nvSpPr>
        <p:spPr>
          <a:xfrm>
            <a:off x="622145" y="3714622"/>
            <a:ext cx="4975203" cy="3517885"/>
          </a:xfrm>
          <a:prstGeom prst="rect">
            <a:avLst/>
          </a:prstGeom>
        </p:spPr>
        <p:txBody>
          <a:bodyPr wrap="none" lIns="0" tIns="0" rIns="0" bIns="0"/>
          <a:lstStyle/>
          <a:p>
            <a:endParaRPr/>
          </a:p>
        </p:txBody>
      </p:sp>
      <p:sp>
        <p:nvSpPr>
          <p:cNvPr id="550" name="CustomShape 2"/>
          <p:cNvSpPr/>
          <p:nvPr/>
        </p:nvSpPr>
        <p:spPr>
          <a:xfrm>
            <a:off x="3524184" y="7428013"/>
            <a:ext cx="2694004" cy="389166"/>
          </a:xfrm>
          <a:prstGeom prst="rect">
            <a:avLst/>
          </a:prstGeom>
        </p:spPr>
        <p:txBody>
          <a:bodyPr lIns="78903" tIns="41030" rIns="78903" bIns="41030" anchor="b"/>
          <a:lstStyle/>
          <a:p>
            <a:pPr algn="r">
              <a:lnSpc>
                <a:spcPct val="100000"/>
              </a:lnSpc>
              <a:buFont typeface="Arial"/>
              <a:buChar char="•"/>
            </a:pPr>
            <a:fld id="{D41D485C-EB83-4FD2-9451-BE5FEF8BEF4C}" type="slidenum">
              <a:rPr lang="ru-RU" sz="1100"/>
              <a:pPr algn="r">
                <a:lnSpc>
                  <a:spcPct val="100000"/>
                </a:lnSpc>
                <a:buFont typeface="Arial"/>
                <a:buChar char="•"/>
              </a:pPr>
              <a:t>24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654982-ECE3-4B5B-8E77-B72776F88895}" type="datetime1">
              <a:rPr lang="ru-RU" smtClean="0"/>
              <a:pPr/>
              <a:t>29.03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12677"/>
            <a:ext cx="9144000" cy="106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04735" y="1265638"/>
            <a:ext cx="4103634" cy="307772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38357" y="4437113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DBFD4-C34C-408C-90A3-E4D108ADFA87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Рисунок 2"/>
          <p:cNvSpPr>
            <a:spLocks noGrp="1"/>
          </p:cNvSpPr>
          <p:nvPr>
            <p:ph type="pic" idx="13"/>
          </p:nvPr>
        </p:nvSpPr>
        <p:spPr>
          <a:xfrm>
            <a:off x="323528" y="1265638"/>
            <a:ext cx="4103634" cy="307772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0" name="Текст 3"/>
          <p:cNvSpPr>
            <a:spLocks noGrp="1"/>
          </p:cNvSpPr>
          <p:nvPr>
            <p:ph type="body" sz="half" idx="14"/>
          </p:nvPr>
        </p:nvSpPr>
        <p:spPr>
          <a:xfrm>
            <a:off x="4716017" y="4437113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нотекстов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000" y="188640"/>
            <a:ext cx="7632000" cy="648072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980728"/>
            <a:ext cx="9144000" cy="5877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10"/>
          </p:nvPr>
        </p:nvSpPr>
        <p:spPr>
          <a:xfrm>
            <a:off x="179512" y="1125539"/>
            <a:ext cx="8784976" cy="5616575"/>
          </a:xfrm>
        </p:spPr>
        <p:txBody>
          <a:bodyPr/>
          <a:lstStyle>
            <a:lvl3pPr>
              <a:defRPr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6021288"/>
            <a:ext cx="1331640" cy="576064"/>
          </a:xfrm>
          <a:prstGeom prst="rect">
            <a:avLst/>
          </a:prstGeom>
          <a:solidFill>
            <a:srgbClr val="8DC7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 descr="VGlogo_basic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55815" y="6021288"/>
            <a:ext cx="576858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нотекстов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188640"/>
            <a:ext cx="7632848" cy="648072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980728"/>
            <a:ext cx="9144000" cy="5877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10"/>
          </p:nvPr>
        </p:nvSpPr>
        <p:spPr>
          <a:xfrm>
            <a:off x="432000" y="2160000"/>
            <a:ext cx="8388472" cy="4122000"/>
          </a:xfrm>
        </p:spPr>
        <p:txBody>
          <a:bodyPr anchor="t"/>
          <a:lstStyle>
            <a:lvl3pPr marL="288000" indent="-288000">
              <a:defRPr/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pic>
        <p:nvPicPr>
          <p:cNvPr id="6" name="Рисунок 7" descr="VG_logo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958526" y="150540"/>
            <a:ext cx="881333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 userDrawn="1"/>
        </p:nvSpPr>
        <p:spPr>
          <a:xfrm>
            <a:off x="0" y="980728"/>
            <a:ext cx="9144000" cy="5877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6021288"/>
            <a:ext cx="1331640" cy="576064"/>
          </a:xfrm>
          <a:prstGeom prst="rect">
            <a:avLst/>
          </a:prstGeom>
          <a:solidFill>
            <a:srgbClr val="00A2E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 descr="VGlogo_basic.jp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8" y="6021288"/>
            <a:ext cx="5773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текстом">
    <p:bg>
      <p:bgPr>
        <a:blipFill dpi="0" rotWithShape="1">
          <a:blip r:embed="rId2" cstate="print">
            <a:lum/>
          </a:blip>
          <a:srcRect/>
          <a:stretch>
            <a:fillRect l="-2000" r="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0" y="6021288"/>
            <a:ext cx="1331640" cy="576064"/>
          </a:xfrm>
          <a:prstGeom prst="rect">
            <a:avLst/>
          </a:prstGeom>
          <a:solidFill>
            <a:srgbClr val="00A2E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2195736" y="0"/>
            <a:ext cx="6948264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7" descr="VG_logo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96338" y="332656"/>
            <a:ext cx="12461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Текст 16"/>
          <p:cNvSpPr>
            <a:spLocks noGrp="1"/>
          </p:cNvSpPr>
          <p:nvPr>
            <p:ph type="body" sz="quarter" idx="11" hasCustomPrompt="1"/>
          </p:nvPr>
        </p:nvSpPr>
        <p:spPr>
          <a:xfrm>
            <a:off x="2339752" y="260352"/>
            <a:ext cx="4969098" cy="936625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Заголовок слайда с текстом.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339975" y="1412875"/>
            <a:ext cx="6624638" cy="5329239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ru-RU" dirty="0" smtClean="0"/>
              <a:t>Подзаголовок</a:t>
            </a:r>
          </a:p>
          <a:p>
            <a:pPr lvl="1"/>
            <a:r>
              <a:rPr lang="ru-RU" dirty="0" smtClean="0"/>
              <a:t>Основной текст слайда. Основной текст слайда. Основной текст слайда. Содержание учебника для 5 класса, в первую очередь, направлено на развитие познавательного интереса учащихся к объектам и процессам окружающего мира и познавательной активности по отношению к ним, включение учащихся в практическую деятельность по применению изучаемого материала с целью моделирования объектов и процессов. Учителю географии на уроках в 5 классе необходимо обратить внимание на постепенный переход от формирования представлений, которые преобладают в начальной школе, к формированию понятий в основной школе.</a:t>
            </a:r>
          </a:p>
        </p:txBody>
      </p:sp>
      <p:pic>
        <p:nvPicPr>
          <p:cNvPr id="10" name="Рисунок 9" descr="VGlogo_basic.jp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8" y="6021288"/>
            <a:ext cx="5773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2796109"/>
            <a:ext cx="7772400" cy="126578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597418"/>
            <a:ext cx="6400800" cy="87631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848748"/>
            <a:ext cx="5643602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9144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928929" y="5668464"/>
            <a:ext cx="306708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5649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605328"/>
            <a:ext cx="5643602" cy="1794149"/>
          </a:xfrm>
          <a:prstGeom prst="rect">
            <a:avLst/>
          </a:prstGeom>
          <a:noFill/>
        </p:spPr>
      </p:pic>
      <p:sp>
        <p:nvSpPr>
          <p:cNvPr id="35" name="Заголовок 1"/>
          <p:cNvSpPr>
            <a:spLocks noGrp="1"/>
          </p:cNvSpPr>
          <p:nvPr>
            <p:ph type="ctrTitle"/>
          </p:nvPr>
        </p:nvSpPr>
        <p:spPr>
          <a:xfrm>
            <a:off x="685800" y="2065850"/>
            <a:ext cx="7772400" cy="196003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305314"/>
            <a:ext cx="6400800" cy="1314436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0" y="5473728"/>
            <a:ext cx="9144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 userDrawn="1"/>
        </p:nvSpPr>
        <p:spPr>
          <a:xfrm>
            <a:off x="2344708" y="5814516"/>
            <a:ext cx="496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 smtClean="0"/>
              <a:t>ros.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endParaRPr lang="ru-RU" sz="1600" dirty="0"/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979580" y="5765834"/>
            <a:ext cx="401643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768717" y="5765834"/>
            <a:ext cx="401643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5594367" y="5765834"/>
            <a:ext cx="401643" cy="5355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650890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981340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986913"/>
            <a:ext cx="6400800" cy="131444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1196695"/>
            <a:ext cx="5643602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01188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473728"/>
            <a:ext cx="9144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20700" y="1196694"/>
            <a:ext cx="7244798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928927" y="5668464"/>
            <a:ext cx="306708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3417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7564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2796109"/>
            <a:ext cx="7772400" cy="126578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597417"/>
            <a:ext cx="6400800" cy="87631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848748"/>
            <a:ext cx="5643602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5473728"/>
            <a:ext cx="9144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928927" y="5668464"/>
            <a:ext cx="306708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016870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93753" y="2163216"/>
            <a:ext cx="7356494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53927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C89FF-C488-4330-89BA-6B8DC53F0BE9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9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1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611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8053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131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2545" y="6155304"/>
            <a:ext cx="1690937" cy="491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023541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514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4003704"/>
            <a:ext cx="7772400" cy="1470025"/>
          </a:xfrm>
        </p:spPr>
        <p:txBody>
          <a:bodyPr anchor="t"/>
          <a:lstStyle>
            <a:lvl1pPr algn="ctr">
              <a:defRPr>
                <a:solidFill>
                  <a:srgbClr val="005CAB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21571" y="1528451"/>
            <a:ext cx="6500858" cy="2095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902259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215857"/>
            <a:ext cx="876312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41470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824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5546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6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6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9995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2B8708-D45F-4B89-B047-EC7B00E0CFD2}" type="datetime1">
              <a:rPr lang="ru-RU" smtClean="0"/>
              <a:pPr/>
              <a:t>29.03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12677"/>
            <a:ext cx="9144000" cy="1063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2"/>
            <a:ext cx="3971924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2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68314" y="1785927"/>
            <a:ext cx="3960811" cy="2428891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7"/>
            <a:ext cx="3929090" cy="2428891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6724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1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9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9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6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4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4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1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9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9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6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4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4"/>
            <a:ext cx="1785950" cy="1190633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30532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68313" y="2071677"/>
            <a:ext cx="4071966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68313" y="4357693"/>
            <a:ext cx="4071966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7"/>
            <a:ext cx="4071966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3"/>
            <a:ext cx="4071966" cy="1643075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0510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98121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46033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446031" y="2143118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8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2143118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701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46033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446031" y="2143117"/>
            <a:ext cx="3929090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8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8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46033" y="3925895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446031" y="442913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22679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5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68313" y="2143116"/>
            <a:ext cx="3929090" cy="400052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8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8" y="3929067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42913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5541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6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857366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00166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457200" y="214291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2800" dirty="0" smtClean="0">
                <a:solidFill>
                  <a:srgbClr val="FFFFFF"/>
                </a:solidFill>
              </a:rPr>
              <a:t>Образец заголовка</a:t>
            </a:r>
            <a:endParaRPr lang="ru-RU" sz="2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599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605328"/>
            <a:ext cx="5643602" cy="1794149"/>
          </a:xfrm>
          <a:prstGeom prst="rect">
            <a:avLst/>
          </a:prstGeom>
          <a:noFill/>
        </p:spPr>
      </p:pic>
      <p:sp>
        <p:nvSpPr>
          <p:cNvPr id="35" name="Заголовок 1"/>
          <p:cNvSpPr>
            <a:spLocks noGrp="1"/>
          </p:cNvSpPr>
          <p:nvPr>
            <p:ph type="ctrTitle"/>
          </p:nvPr>
        </p:nvSpPr>
        <p:spPr>
          <a:xfrm>
            <a:off x="685800" y="2065849"/>
            <a:ext cx="7772400" cy="196003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4305313"/>
            <a:ext cx="6400800" cy="1314436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0" y="5473728"/>
            <a:ext cx="9144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2344708" y="5814516"/>
            <a:ext cx="496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 err="1" smtClean="0">
                <a:solidFill>
                  <a:srgbClr val="515151"/>
                </a:solidFill>
              </a:rPr>
              <a:t>ros.uchebnik</a:t>
            </a:r>
            <a:r>
              <a:rPr lang="ru-RU" sz="1600" dirty="0" smtClean="0">
                <a:solidFill>
                  <a:srgbClr val="515151"/>
                </a:solidFill>
              </a:rPr>
              <a:t>	</a:t>
            </a:r>
            <a:r>
              <a:rPr lang="en-US" sz="1600" dirty="0" err="1" smtClean="0">
                <a:solidFill>
                  <a:srgbClr val="515151"/>
                </a:solidFill>
              </a:rPr>
              <a:t>rosuchebnik</a:t>
            </a:r>
            <a:r>
              <a:rPr lang="ru-RU" sz="1600" dirty="0" smtClean="0">
                <a:solidFill>
                  <a:srgbClr val="515151"/>
                </a:solidFill>
              </a:rPr>
              <a:t>	</a:t>
            </a:r>
            <a:r>
              <a:rPr lang="en-US" sz="1600" dirty="0" err="1" smtClean="0">
                <a:solidFill>
                  <a:srgbClr val="515151"/>
                </a:solidFill>
              </a:rPr>
              <a:t>rosuchebnik</a:t>
            </a:r>
            <a:endParaRPr lang="ru-RU" sz="1600" dirty="0">
              <a:solidFill>
                <a:srgbClr val="515151"/>
              </a:solidFill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979578" y="5765833"/>
            <a:ext cx="401643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768715" y="5765833"/>
            <a:ext cx="401643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5594365" y="5765833"/>
            <a:ext cx="401643" cy="5355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79128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5C647-B502-47F2-B896-5CE1E04EC7F7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9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1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91498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PlaceHolder 1"/>
          <p:cNvSpPr>
            <a:spLocks noGrp="1"/>
          </p:cNvSpPr>
          <p:nvPr>
            <p:ph type="title"/>
          </p:nvPr>
        </p:nvSpPr>
        <p:spPr>
          <a:xfrm>
            <a:off x="685800" y="2130480"/>
            <a:ext cx="7772040" cy="146952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ru-RU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35311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685800" y="2130480"/>
            <a:ext cx="7772040" cy="146952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ru-RU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ru-RU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69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1F40-1874-4F64-B44F-20A15D634CB1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 userDrawn="1"/>
        </p:nvSpPr>
        <p:spPr>
          <a:xfrm>
            <a:off x="-108520" y="6748989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08520" y="1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4C10C-38E3-437F-9E9F-5F0FBF4DE2E7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 userDrawn="1"/>
        </p:nvSpPr>
        <p:spPr>
          <a:xfrm>
            <a:off x="-108520" y="6748989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108520" y="1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9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1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60340" y="1265638"/>
            <a:ext cx="4615916" cy="34619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869160"/>
            <a:ext cx="5486400" cy="130304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AD0FC-C1F1-489B-B61D-C32AA09ED968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image" Target="../media/image13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E89F7D-DDB0-4D63-942B-73224E08081F}" type="datetime1">
              <a:rPr lang="ru-RU" smtClean="0"/>
              <a:pPr/>
              <a:t>29.03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59532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 userDrawn="1"/>
        </p:nvSpPr>
        <p:spPr>
          <a:xfrm>
            <a:off x="0" y="6748989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1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1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29.03.2018</a:t>
            </a:fld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srgbClr val="515151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>
                <a:solidFill>
                  <a:srgbClr val="515151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515151">
                  <a:tint val="75000"/>
                </a:srgbClr>
              </a:solidFill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409518" y="6178368"/>
            <a:ext cx="2317754" cy="4679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2961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rofa.ru/cat/product4585.htm" TargetMode="External"/><Relationship Id="rId3" Type="http://schemas.openxmlformats.org/officeDocument/2006/relationships/hyperlink" Target="http://www.drofa.ru/cat/product5829.htm" TargetMode="External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8.jpeg"/><Relationship Id="rId10" Type="http://schemas.openxmlformats.org/officeDocument/2006/relationships/image" Target="../media/image22.png"/><Relationship Id="rId4" Type="http://schemas.openxmlformats.org/officeDocument/2006/relationships/image" Target="../media/image17.jpeg"/><Relationship Id="rId9" Type="http://schemas.openxmlformats.org/officeDocument/2006/relationships/image" Target="../media/image2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png"/><Relationship Id="rId4" Type="http://schemas.openxmlformats.org/officeDocument/2006/relationships/image" Target="../media/image8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3.jpeg"/><Relationship Id="rId4" Type="http://schemas.openxmlformats.org/officeDocument/2006/relationships/image" Target="../media/image89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3.jpeg"/><Relationship Id="rId4" Type="http://schemas.openxmlformats.org/officeDocument/2006/relationships/image" Target="../media/image90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hyperlink" Target="http://www.drofa.ru/cat/product2211.htm" TargetMode="External"/><Relationship Id="rId18" Type="http://schemas.openxmlformats.org/officeDocument/2006/relationships/image" Target="../media/image101.jpeg"/><Relationship Id="rId3" Type="http://schemas.openxmlformats.org/officeDocument/2006/relationships/image" Target="../media/image94.png"/><Relationship Id="rId21" Type="http://schemas.openxmlformats.org/officeDocument/2006/relationships/image" Target="../media/image103.png"/><Relationship Id="rId7" Type="http://schemas.openxmlformats.org/officeDocument/2006/relationships/hyperlink" Target="http://www.drofa.ru/cat/product5829.htm" TargetMode="External"/><Relationship Id="rId12" Type="http://schemas.openxmlformats.org/officeDocument/2006/relationships/image" Target="../media/image98.jpeg"/><Relationship Id="rId17" Type="http://schemas.openxmlformats.org/officeDocument/2006/relationships/hyperlink" Target="http://www.drofa.ru/cat/product5950.htm" TargetMode="External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00.jpeg"/><Relationship Id="rId20" Type="http://schemas.openxmlformats.org/officeDocument/2006/relationships/image" Target="../media/image10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6.jpeg"/><Relationship Id="rId11" Type="http://schemas.openxmlformats.org/officeDocument/2006/relationships/hyperlink" Target="http://www.drofa.ru/cat/product2207.htm" TargetMode="External"/><Relationship Id="rId5" Type="http://schemas.openxmlformats.org/officeDocument/2006/relationships/hyperlink" Target="http://www.drofa.ru/cat/product5334.htm" TargetMode="External"/><Relationship Id="rId15" Type="http://schemas.openxmlformats.org/officeDocument/2006/relationships/hyperlink" Target="http://www.drofa.ru/cat/product4593.htm" TargetMode="External"/><Relationship Id="rId10" Type="http://schemas.openxmlformats.org/officeDocument/2006/relationships/image" Target="../media/image97.jpeg"/><Relationship Id="rId19" Type="http://schemas.openxmlformats.org/officeDocument/2006/relationships/hyperlink" Target="http://www.drofa.ru/cat/product5160.htm" TargetMode="External"/><Relationship Id="rId4" Type="http://schemas.openxmlformats.org/officeDocument/2006/relationships/image" Target="../media/image95.jpeg"/><Relationship Id="rId9" Type="http://schemas.openxmlformats.org/officeDocument/2006/relationships/hyperlink" Target="http://www.drofa.ru/cat/product2210.htm" TargetMode="External"/><Relationship Id="rId14" Type="http://schemas.openxmlformats.org/officeDocument/2006/relationships/image" Target="../media/image99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6.jpeg"/><Relationship Id="rId4" Type="http://schemas.openxmlformats.org/officeDocument/2006/relationships/image" Target="../media/image10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jpeg"/><Relationship Id="rId18" Type="http://schemas.openxmlformats.org/officeDocument/2006/relationships/image" Target="../media/image38.gif"/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17" Type="http://schemas.openxmlformats.org/officeDocument/2006/relationships/image" Target="../media/image37.gif"/><Relationship Id="rId2" Type="http://schemas.openxmlformats.org/officeDocument/2006/relationships/image" Target="../media/image24.jpeg"/><Relationship Id="rId16" Type="http://schemas.openxmlformats.org/officeDocument/2006/relationships/image" Target="../media/image36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jpeg"/><Relationship Id="rId11" Type="http://schemas.openxmlformats.org/officeDocument/2006/relationships/image" Target="../media/image31.jpeg"/><Relationship Id="rId5" Type="http://schemas.openxmlformats.org/officeDocument/2006/relationships/image" Target="../media/image19.png"/><Relationship Id="rId15" Type="http://schemas.openxmlformats.org/officeDocument/2006/relationships/image" Target="../media/image35.png"/><Relationship Id="rId10" Type="http://schemas.openxmlformats.org/officeDocument/2006/relationships/image" Target="../media/image30.jpeg"/><Relationship Id="rId19" Type="http://schemas.openxmlformats.org/officeDocument/2006/relationships/image" Target="../media/image39.png"/><Relationship Id="rId4" Type="http://schemas.openxmlformats.org/officeDocument/2006/relationships/image" Target="../media/image26.png"/><Relationship Id="rId9" Type="http://schemas.openxmlformats.org/officeDocument/2006/relationships/image" Target="../media/image20.jpeg"/><Relationship Id="rId14" Type="http://schemas.openxmlformats.org/officeDocument/2006/relationships/image" Target="../media/image34.gi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107.jpeg"/><Relationship Id="rId7" Type="http://schemas.openxmlformats.org/officeDocument/2006/relationships/image" Target="../media/image17.jpeg"/><Relationship Id="rId2" Type="http://schemas.openxmlformats.org/officeDocument/2006/relationships/hyperlink" Target="http://www.drofa.ru/cat/product2208.htm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drofa.ru/cat/product5829.htm" TargetMode="External"/><Relationship Id="rId5" Type="http://schemas.openxmlformats.org/officeDocument/2006/relationships/image" Target="../media/image96.jpeg"/><Relationship Id="rId4" Type="http://schemas.openxmlformats.org/officeDocument/2006/relationships/hyperlink" Target="http://www.drofa.ru/cat/product5334.htm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hyperlink" Target="http://www.drofa.ru/cat/product2207.htm" TargetMode="Externa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94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10" Type="http://schemas.openxmlformats.org/officeDocument/2006/relationships/image" Target="../media/image98.jpeg"/><Relationship Id="rId4" Type="http://schemas.openxmlformats.org/officeDocument/2006/relationships/diagramData" Target="../diagrams/data3.xml"/><Relationship Id="rId9" Type="http://schemas.openxmlformats.org/officeDocument/2006/relationships/hyperlink" Target="http://www.drofa.ru/cat/product2207.htm" TargetMode="Externa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hyperlink" Target="http://www.drofa.ru/cat/product2208.htm" TargetMode="External"/><Relationship Id="rId7" Type="http://schemas.openxmlformats.org/officeDocument/2006/relationships/hyperlink" Target="http://www.drofa.ru/cat/product2222.ht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jpeg"/><Relationship Id="rId5" Type="http://schemas.openxmlformats.org/officeDocument/2006/relationships/image" Target="../media/image95.jpeg"/><Relationship Id="rId10" Type="http://schemas.openxmlformats.org/officeDocument/2006/relationships/image" Target="../media/image111.jpeg"/><Relationship Id="rId4" Type="http://schemas.openxmlformats.org/officeDocument/2006/relationships/image" Target="../media/image107.jpeg"/><Relationship Id="rId9" Type="http://schemas.openxmlformats.org/officeDocument/2006/relationships/image" Target="../media/image110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rofa.ru/cat/product5695.htm" TargetMode="External"/><Relationship Id="rId13" Type="http://schemas.openxmlformats.org/officeDocument/2006/relationships/image" Target="../media/image21.jpeg"/><Relationship Id="rId3" Type="http://schemas.openxmlformats.org/officeDocument/2006/relationships/hyperlink" Target="http://www.drofa.ru/cat/product5829.htm" TargetMode="External"/><Relationship Id="rId7" Type="http://schemas.openxmlformats.org/officeDocument/2006/relationships/image" Target="../media/image112.jpeg"/><Relationship Id="rId12" Type="http://schemas.openxmlformats.org/officeDocument/2006/relationships/hyperlink" Target="http://www.drofa.ru/cat/product4585.htm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drofa.ru/cat/product5481.htm" TargetMode="External"/><Relationship Id="rId11" Type="http://schemas.openxmlformats.org/officeDocument/2006/relationships/image" Target="../media/image114.jpeg"/><Relationship Id="rId5" Type="http://schemas.openxmlformats.org/officeDocument/2006/relationships/image" Target="../media/image94.png"/><Relationship Id="rId10" Type="http://schemas.openxmlformats.org/officeDocument/2006/relationships/hyperlink" Target="http://www.drofa.ru/cat/product5721.htm" TargetMode="External"/><Relationship Id="rId4" Type="http://schemas.openxmlformats.org/officeDocument/2006/relationships/image" Target="../media/image17.jpeg"/><Relationship Id="rId9" Type="http://schemas.openxmlformats.org/officeDocument/2006/relationships/image" Target="../media/image11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7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image" Target="../media/image94.png"/><Relationship Id="rId7" Type="http://schemas.openxmlformats.org/officeDocument/2006/relationships/diagramLayout" Target="../diagrams/layou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4.xml"/><Relationship Id="rId5" Type="http://schemas.openxmlformats.org/officeDocument/2006/relationships/image" Target="../media/image21.jpeg"/><Relationship Id="rId10" Type="http://schemas.microsoft.com/office/2007/relationships/diagramDrawing" Target="../diagrams/drawing4.xml"/><Relationship Id="rId4" Type="http://schemas.openxmlformats.org/officeDocument/2006/relationships/hyperlink" Target="http://www.drofa.ru/cat/product4585.htm" TargetMode="External"/><Relationship Id="rId9" Type="http://schemas.openxmlformats.org/officeDocument/2006/relationships/diagramColors" Target="../diagrams/colors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eg"/><Relationship Id="rId3" Type="http://schemas.openxmlformats.org/officeDocument/2006/relationships/image" Target="../media/image128.jpeg"/><Relationship Id="rId7" Type="http://schemas.openxmlformats.org/officeDocument/2006/relationships/image" Target="../media/image131.jpe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.png"/><Relationship Id="rId5" Type="http://schemas.openxmlformats.org/officeDocument/2006/relationships/image" Target="../media/image129.jpeg"/><Relationship Id="rId4" Type="http://schemas.openxmlformats.org/officeDocument/2006/relationships/hyperlink" Target="http://www.drofa.ru/cat/product5433.htm" TargetMode="External"/><Relationship Id="rId9" Type="http://schemas.openxmlformats.org/officeDocument/2006/relationships/image" Target="../media/image133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jpeg"/><Relationship Id="rId3" Type="http://schemas.openxmlformats.org/officeDocument/2006/relationships/image" Target="../media/image135.jpeg"/><Relationship Id="rId7" Type="http://schemas.openxmlformats.org/officeDocument/2006/relationships/image" Target="../media/image139.jpeg"/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8.jpeg"/><Relationship Id="rId5" Type="http://schemas.openxmlformats.org/officeDocument/2006/relationships/image" Target="../media/image137.jpeg"/><Relationship Id="rId4" Type="http://schemas.openxmlformats.org/officeDocument/2006/relationships/image" Target="../media/image136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44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43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1.jpeg"/><Relationship Id="rId9" Type="http://schemas.microsoft.com/office/2007/relationships/diagramDrawing" Target="../diagrams/drawing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147.jpe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jpeg"/><Relationship Id="rId3" Type="http://schemas.openxmlformats.org/officeDocument/2006/relationships/diagramLayout" Target="../diagrams/layout9.xml"/><Relationship Id="rId7" Type="http://schemas.openxmlformats.org/officeDocument/2006/relationships/image" Target="../media/image149.jpe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Relationship Id="rId9" Type="http://schemas.openxmlformats.org/officeDocument/2006/relationships/image" Target="../media/image151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4.jpe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0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161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2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7" Type="http://schemas.openxmlformats.org/officeDocument/2006/relationships/image" Target="../media/image173.jpe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72.png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72.png"/><Relationship Id="rId4" Type="http://schemas.openxmlformats.org/officeDocument/2006/relationships/image" Target="../media/image174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72.png"/><Relationship Id="rId4" Type="http://schemas.openxmlformats.org/officeDocument/2006/relationships/image" Target="../media/image175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685800" y="3143249"/>
            <a:ext cx="7772400" cy="1809763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527884" y="4149081"/>
            <a:ext cx="5286412" cy="876313"/>
          </a:xfrm>
        </p:spPr>
        <p:txBody>
          <a:bodyPr>
            <a:noAutofit/>
          </a:bodyPr>
          <a:lstStyle/>
          <a:p>
            <a:pPr algn="r"/>
            <a:r>
              <a:rPr lang="ru-RU" sz="1800" dirty="0" smtClean="0"/>
              <a:t>Методист по ИЗО и музыке</a:t>
            </a:r>
          </a:p>
          <a:p>
            <a:pPr algn="r"/>
            <a:r>
              <a:rPr lang="ru-RU" sz="1800" dirty="0" smtClean="0"/>
              <a:t>ФЕДОТОВА Катерина Николаевна</a:t>
            </a:r>
          </a:p>
        </p:txBody>
      </p:sp>
    </p:spTree>
    <p:extLst>
      <p:ext uri="{BB962C8B-B14F-4D97-AF65-F5344CB8AC3E}">
        <p14:creationId xmlns:p14="http://schemas.microsoft.com/office/powerpoint/2010/main" val="1968707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CustomShape 1"/>
          <p:cNvSpPr/>
          <p:nvPr/>
        </p:nvSpPr>
        <p:spPr>
          <a:xfrm>
            <a:off x="457200" y="274680"/>
            <a:ext cx="8227080" cy="1140480"/>
          </a:xfrm>
          <a:prstGeom prst="rect">
            <a:avLst/>
          </a:prstGeom>
        </p:spPr>
      </p:sp>
      <p:sp>
        <p:nvSpPr>
          <p:cNvPr id="319" name="CustomShape 2"/>
          <p:cNvSpPr/>
          <p:nvPr/>
        </p:nvSpPr>
        <p:spPr>
          <a:xfrm>
            <a:off x="457200" y="1600200"/>
            <a:ext cx="8227080" cy="4523400"/>
          </a:xfrm>
          <a:prstGeom prst="rect">
            <a:avLst/>
          </a:prstGeom>
        </p:spPr>
      </p:sp>
      <p:pic>
        <p:nvPicPr>
          <p:cNvPr id="320" name="Рисунок 31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1160541" y="800066"/>
            <a:ext cx="10909800" cy="5221359"/>
          </a:xfrm>
          <a:prstGeom prst="rect">
            <a:avLst/>
          </a:prstGeom>
        </p:spPr>
      </p:pic>
      <p:pic>
        <p:nvPicPr>
          <p:cNvPr id="321" name="Рисунок 3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90602" y="215856"/>
            <a:ext cx="5021199" cy="2043864"/>
          </a:xfrm>
          <a:prstGeom prst="rect">
            <a:avLst/>
          </a:prstGeom>
        </p:spPr>
      </p:pic>
      <p:pic>
        <p:nvPicPr>
          <p:cNvPr id="322" name="Рисунок 3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142059" y="215856"/>
            <a:ext cx="2730402" cy="26184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85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pic>
        <p:nvPicPr>
          <p:cNvPr id="287" name="Picture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609440" y="179345"/>
            <a:ext cx="4534560" cy="6097671"/>
          </a:xfrm>
          <a:prstGeom prst="rect">
            <a:avLst/>
          </a:prstGeom>
        </p:spPr>
      </p:pic>
      <p:pic>
        <p:nvPicPr>
          <p:cNvPr id="288" name="Picture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9532" y="1124745"/>
            <a:ext cx="4140460" cy="5042731"/>
          </a:xfrm>
          <a:prstGeom prst="rect">
            <a:avLst/>
          </a:prstGeom>
        </p:spPr>
      </p:pic>
      <p:sp>
        <p:nvSpPr>
          <p:cNvPr id="289" name="CustomShape 3"/>
          <p:cNvSpPr/>
          <p:nvPr/>
        </p:nvSpPr>
        <p:spPr>
          <a:xfrm>
            <a:off x="0" y="0"/>
            <a:ext cx="4716016" cy="980728"/>
          </a:xfrm>
          <a:prstGeom prst="roundRect">
            <a:avLst>
              <a:gd name="adj" fmla="val 16667"/>
            </a:avLst>
          </a:prstGeom>
        </p:spPr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dirty="0">
                <a:solidFill>
                  <a:srgbClr val="FF0000"/>
                </a:solidFill>
                <a:latin typeface="Times New Roman"/>
              </a:rPr>
              <a:t>Детские портреты композиторов в учебнике – как Вы думаете, с какой целью они даны?</a:t>
            </a:r>
            <a:endParaRPr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CustomShape 1"/>
          <p:cNvSpPr/>
          <p:nvPr/>
        </p:nvSpPr>
        <p:spPr>
          <a:xfrm>
            <a:off x="457200" y="274680"/>
            <a:ext cx="8228880" cy="1142280"/>
          </a:xfrm>
          <a:prstGeom prst="rect">
            <a:avLst/>
          </a:prstGeom>
        </p:spPr>
      </p:sp>
      <p:sp>
        <p:nvSpPr>
          <p:cNvPr id="291" name="CustomShape 2"/>
          <p:cNvSpPr/>
          <p:nvPr/>
        </p:nvSpPr>
        <p:spPr>
          <a:xfrm>
            <a:off x="914400" y="1219320"/>
            <a:ext cx="8228880" cy="4525200"/>
          </a:xfrm>
          <a:prstGeom prst="rect">
            <a:avLst/>
          </a:prstGeom>
        </p:spPr>
      </p:sp>
      <p:sp>
        <p:nvSpPr>
          <p:cNvPr id="293" name="CustomShape 3"/>
          <p:cNvSpPr/>
          <p:nvPr/>
        </p:nvSpPr>
        <p:spPr>
          <a:xfrm>
            <a:off x="0" y="380880"/>
            <a:ext cx="4723560" cy="106632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lvl="1" algn="ctr"/>
            <a:r>
              <a:rPr lang="ru-RU" sz="2800" b="1" i="1" dirty="0">
                <a:solidFill>
                  <a:schemeClr val="tx2">
                    <a:lumMod val="75000"/>
                  </a:schemeClr>
                </a:solidFill>
              </a:rPr>
              <a:t>РАБОЧАЯ  ТЕТРАДЬ</a:t>
            </a:r>
            <a:endParaRPr sz="1600" dirty="0">
              <a:solidFill>
                <a:schemeClr val="tx2">
                  <a:lumMod val="75000"/>
                </a:schemeClr>
              </a:solidFill>
            </a:endParaRPr>
          </a:p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800" b="1" i="1" dirty="0">
                <a:solidFill>
                  <a:schemeClr val="tx2">
                    <a:lumMod val="75000"/>
                  </a:schemeClr>
                </a:solidFill>
              </a:rPr>
              <a:t>(БЛОКНОТ)</a:t>
            </a:r>
            <a:endParaRPr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4" name="CustomShape 4"/>
          <p:cNvSpPr/>
          <p:nvPr/>
        </p:nvSpPr>
        <p:spPr>
          <a:xfrm>
            <a:off x="762120" y="1704960"/>
            <a:ext cx="3428280" cy="179964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800" b="1" dirty="0">
                <a:latin typeface="Times New Roman"/>
                <a:ea typeface="Times New Roman"/>
              </a:rPr>
              <a:t>Задумана как вспомогательное  учебнику пособие. </a:t>
            </a:r>
            <a:endParaRPr dirty="0"/>
          </a:p>
          <a:p>
            <a:pPr algn="ctr">
              <a:lnSpc>
                <a:spcPct val="100000"/>
              </a:lnSpc>
            </a:pPr>
            <a:endParaRPr dirty="0"/>
          </a:p>
        </p:txBody>
      </p:sp>
      <p:pic>
        <p:nvPicPr>
          <p:cNvPr id="295" name="Рисунок 29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36492" y="3355975"/>
            <a:ext cx="2628936" cy="2300319"/>
          </a:xfrm>
          <a:prstGeom prst="rect">
            <a:avLst/>
          </a:prstGeom>
        </p:spPr>
      </p:pic>
      <p:sp>
        <p:nvSpPr>
          <p:cNvPr id="296" name="CustomShape 5"/>
          <p:cNvSpPr/>
          <p:nvPr/>
        </p:nvSpPr>
        <p:spPr>
          <a:xfrm>
            <a:off x="3347864" y="2852936"/>
            <a:ext cx="4571280" cy="3733200"/>
          </a:xfrm>
          <a:prstGeom prst="roundRect">
            <a:avLst>
              <a:gd name="adj" fmla="val 3600"/>
            </a:avLst>
          </a:prstGeom>
        </p:spPr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000" dirty="0"/>
              <a:t>Основное назначение –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реализовать внутреннее 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 err="1"/>
              <a:t>слышание</a:t>
            </a:r>
            <a:r>
              <a:rPr lang="ru-RU" sz="2000" dirty="0"/>
              <a:t> музыки 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письменным образом.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Страницы - поле деятельности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для свободного 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творческого развития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(сочинения музыки стихов,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dirty="0"/>
              <a:t>рисования).</a:t>
            </a:r>
            <a:endParaRPr sz="1600" dirty="0"/>
          </a:p>
        </p:txBody>
      </p:sp>
      <p:pic>
        <p:nvPicPr>
          <p:cNvPr id="297" name="Рисунок 29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106240" y="325395"/>
            <a:ext cx="4037760" cy="28947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CustomShape 1"/>
          <p:cNvSpPr/>
          <p:nvPr/>
        </p:nvSpPr>
        <p:spPr>
          <a:xfrm>
            <a:off x="457200" y="274680"/>
            <a:ext cx="8228880" cy="1142280"/>
          </a:xfrm>
          <a:prstGeom prst="rect">
            <a:avLst/>
          </a:prstGeom>
        </p:spPr>
      </p:sp>
      <p:sp>
        <p:nvSpPr>
          <p:cNvPr id="299" name="CustomShape 2"/>
          <p:cNvSpPr/>
          <p:nvPr/>
        </p:nvSpPr>
        <p:spPr>
          <a:xfrm>
            <a:off x="457200" y="1600200"/>
            <a:ext cx="8228880" cy="4525200"/>
          </a:xfrm>
          <a:prstGeom prst="rect">
            <a:avLst/>
          </a:prstGeom>
        </p:spPr>
      </p:sp>
      <p:sp>
        <p:nvSpPr>
          <p:cNvPr id="301" name="CustomShape 3"/>
          <p:cNvSpPr/>
          <p:nvPr/>
        </p:nvSpPr>
        <p:spPr>
          <a:xfrm>
            <a:off x="914400" y="0"/>
            <a:ext cx="6933600" cy="1065960"/>
          </a:xfrm>
          <a:prstGeom prst="rect">
            <a:avLst/>
          </a:prstGeom>
        </p:spPr>
      </p:sp>
      <p:pic>
        <p:nvPicPr>
          <p:cNvPr id="302" name="Рисунок 30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420785"/>
            <a:ext cx="4572000" cy="3653640"/>
          </a:xfrm>
          <a:prstGeom prst="rect">
            <a:avLst/>
          </a:prstGeom>
        </p:spPr>
      </p:pic>
      <p:pic>
        <p:nvPicPr>
          <p:cNvPr id="303" name="Рисунок 30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572000" y="1311247"/>
            <a:ext cx="4572000" cy="3764880"/>
          </a:xfrm>
          <a:prstGeom prst="rect">
            <a:avLst/>
          </a:prstGeom>
        </p:spPr>
      </p:pic>
      <p:pic>
        <p:nvPicPr>
          <p:cNvPr id="304" name="Рисунок 30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212804" y="5035572"/>
            <a:ext cx="6730200" cy="1058877"/>
          </a:xfrm>
          <a:prstGeom prst="rect">
            <a:avLst/>
          </a:prstGeom>
        </p:spPr>
      </p:pic>
      <p:sp>
        <p:nvSpPr>
          <p:cNvPr id="305" name="CustomShape 4"/>
          <p:cNvSpPr/>
          <p:nvPr/>
        </p:nvSpPr>
        <p:spPr>
          <a:xfrm>
            <a:off x="0" y="228600"/>
            <a:ext cx="8991000" cy="1556280"/>
          </a:xfrm>
          <a:prstGeom prst="rect">
            <a:avLst/>
          </a:prstGeom>
        </p:spPr>
        <p:txBody>
          <a:bodyPr lIns="90000" tIns="46800" rIns="90000" bIns="46800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400" b="1" dirty="0">
                <a:ea typeface="Times New Roman"/>
              </a:rPr>
              <a:t>На таких страницах дети впервые фиксируют свои впечатления и знания. Они имеют возможность </a:t>
            </a:r>
            <a:r>
              <a:rPr lang="ru-RU" sz="2400" b="1" dirty="0" err="1">
                <a:ea typeface="Times New Roman"/>
              </a:rPr>
              <a:t>отрефлексировать</a:t>
            </a:r>
            <a:r>
              <a:rPr lang="ru-RU" sz="2400" b="1" dirty="0">
                <a:ea typeface="Times New Roman"/>
              </a:rPr>
              <a:t> сам процесс рождения музыкальных знаков.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Рисунок 30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495680" y="-7920"/>
            <a:ext cx="4647600" cy="3204360"/>
          </a:xfrm>
          <a:prstGeom prst="rect">
            <a:avLst/>
          </a:prstGeom>
        </p:spPr>
      </p:pic>
      <p:pic>
        <p:nvPicPr>
          <p:cNvPr id="307" name="Рисунок 30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160" y="0"/>
            <a:ext cx="4483800" cy="3330000"/>
          </a:xfrm>
          <a:prstGeom prst="rect">
            <a:avLst/>
          </a:prstGeom>
        </p:spPr>
      </p:pic>
      <p:pic>
        <p:nvPicPr>
          <p:cNvPr id="308" name="Рисунок 30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3048120"/>
            <a:ext cx="4776120" cy="3809160"/>
          </a:xfrm>
          <a:prstGeom prst="rect">
            <a:avLst/>
          </a:prstGeom>
        </p:spPr>
      </p:pic>
      <p:pic>
        <p:nvPicPr>
          <p:cNvPr id="309" name="Рисунок 30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648320" y="3200400"/>
            <a:ext cx="4494960" cy="36568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CustomShape 1"/>
          <p:cNvSpPr/>
          <p:nvPr/>
        </p:nvSpPr>
        <p:spPr>
          <a:xfrm>
            <a:off x="457200" y="504000"/>
            <a:ext cx="8227080" cy="1140480"/>
          </a:xfrm>
          <a:prstGeom prst="rect">
            <a:avLst/>
          </a:prstGeom>
        </p:spPr>
      </p:sp>
      <p:sp>
        <p:nvSpPr>
          <p:cNvPr id="312" name="CustomShape 2"/>
          <p:cNvSpPr/>
          <p:nvPr/>
        </p:nvSpPr>
        <p:spPr>
          <a:xfrm>
            <a:off x="457200" y="1600200"/>
            <a:ext cx="8227080" cy="4523400"/>
          </a:xfrm>
          <a:prstGeom prst="rect">
            <a:avLst/>
          </a:prstGeom>
        </p:spPr>
      </p:sp>
      <p:sp>
        <p:nvSpPr>
          <p:cNvPr id="313" name="CustomShape 3"/>
          <p:cNvSpPr/>
          <p:nvPr/>
        </p:nvSpPr>
        <p:spPr>
          <a:xfrm>
            <a:off x="1514880" y="254520"/>
            <a:ext cx="6474600" cy="606960"/>
          </a:xfrm>
          <a:prstGeom prst="roundRect">
            <a:avLst>
              <a:gd name="adj" fmla="val 3600"/>
            </a:avLst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400" b="1" dirty="0">
                <a:solidFill>
                  <a:srgbClr val="CC0066"/>
                </a:solidFill>
              </a:rPr>
              <a:t>           </a:t>
            </a:r>
            <a:endParaRPr dirty="0"/>
          </a:p>
          <a:p>
            <a:pPr algn="ctr">
              <a:lnSpc>
                <a:spcPct val="100000"/>
              </a:lnSpc>
            </a:pPr>
            <a:endParaRPr dirty="0"/>
          </a:p>
          <a:p>
            <a:pPr algn="ctr">
              <a:lnSpc>
                <a:spcPct val="100000"/>
              </a:lnSpc>
            </a:pPr>
            <a:r>
              <a:rPr lang="ru-RU" sz="2200" b="1" dirty="0">
                <a:solidFill>
                  <a:srgbClr val="CC0066"/>
                </a:solidFill>
              </a:rPr>
              <a:t>Оценка достижения </a:t>
            </a:r>
            <a:endParaRPr dirty="0"/>
          </a:p>
          <a:p>
            <a:pPr algn="ctr">
              <a:lnSpc>
                <a:spcPct val="100000"/>
              </a:lnSpc>
            </a:pPr>
            <a:r>
              <a:rPr lang="ru-RU" sz="2200" b="1" dirty="0">
                <a:solidFill>
                  <a:srgbClr val="CC0066"/>
                </a:solidFill>
              </a:rPr>
              <a:t>       планируемых  результатов </a:t>
            </a:r>
            <a:endParaRPr dirty="0"/>
          </a:p>
          <a:p>
            <a:pPr algn="ctr">
              <a:lnSpc>
                <a:spcPct val="100000"/>
              </a:lnSpc>
            </a:pPr>
            <a:r>
              <a:rPr lang="ru-RU" sz="2200" b="1" dirty="0">
                <a:solidFill>
                  <a:srgbClr val="CC0066"/>
                </a:solidFill>
              </a:rPr>
              <a:t>в начальной школе</a:t>
            </a:r>
            <a:endParaRPr dirty="0"/>
          </a:p>
        </p:txBody>
      </p:sp>
      <p:sp>
        <p:nvSpPr>
          <p:cNvPr id="314" name="CustomShape 4"/>
          <p:cNvSpPr/>
          <p:nvPr/>
        </p:nvSpPr>
        <p:spPr>
          <a:xfrm>
            <a:off x="1223628" y="2448001"/>
            <a:ext cx="6948772" cy="3463884"/>
          </a:xfrm>
          <a:prstGeom prst="rect">
            <a:avLst/>
          </a:prstGeom>
          <a:gradFill>
            <a:gsLst>
              <a:gs pos="0">
                <a:srgbClr val="FEE7F2"/>
              </a:gs>
              <a:gs pos="100000">
                <a:srgbClr val="FBEAC7"/>
              </a:gs>
            </a:gsLst>
            <a:lin ang="5400000"/>
          </a:gradFill>
          <a:ln w="9360">
            <a:solidFill>
              <a:srgbClr val="C00000"/>
            </a:solidFill>
            <a:miter/>
          </a:ln>
        </p:spPr>
        <p:txBody>
          <a:bodyPr lIns="90000" tIns="46800" rIns="90000" bIns="46800"/>
          <a:lstStyle/>
          <a:p>
            <a:pPr>
              <a:lnSpc>
                <a:spcPct val="100000"/>
              </a:lnSpc>
            </a:pPr>
            <a:r>
              <a:rPr lang="ru-RU" sz="2400" dirty="0"/>
              <a:t>Придумать, сочинить музыкальные интонации, выражающие различные эмоциональные состояния человека (восторг, радость, гнев, печаль и др.) или изображающие какие-либо явления жизни (весенняя капель, шум ветра) и </a:t>
            </a:r>
            <a:r>
              <a:rPr lang="ru-RU" sz="2400" b="1" dirty="0">
                <a:solidFill>
                  <a:srgbClr val="C00000"/>
                </a:solidFill>
              </a:rPr>
              <a:t>показать их графически (в виде штрихов, линий). </a:t>
            </a:r>
            <a:endParaRPr dirty="0"/>
          </a:p>
        </p:txBody>
      </p:sp>
      <p:sp>
        <p:nvSpPr>
          <p:cNvPr id="315" name="CustomShape 5"/>
          <p:cNvSpPr/>
          <p:nvPr/>
        </p:nvSpPr>
        <p:spPr>
          <a:xfrm>
            <a:off x="2590920" y="1512000"/>
            <a:ext cx="4493160" cy="619560"/>
          </a:xfrm>
          <a:prstGeom prst="roundRect">
            <a:avLst>
              <a:gd name="adj" fmla="val 3600"/>
            </a:avLst>
          </a:prstGeom>
          <a:ln w="25560">
            <a:solidFill>
              <a:srgbClr val="6600CC"/>
            </a:solidFill>
            <a:miter/>
          </a:ln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800" b="1">
                <a:solidFill>
                  <a:srgbClr val="0000FF"/>
                </a:solidFill>
              </a:rPr>
              <a:t>ВАРИАНТЫ ЗАДАНИЙ</a:t>
            </a:r>
            <a:endParaRPr/>
          </a:p>
        </p:txBody>
      </p:sp>
      <p:pic>
        <p:nvPicPr>
          <p:cNvPr id="316" name="Рисунок 315"/>
          <p:cNvPicPr/>
          <p:nvPr/>
        </p:nvPicPr>
        <p:blipFill>
          <a:blip r:embed="rId2" cstate="print">
            <a:lum bright="-10000" contrast="20000"/>
          </a:blip>
          <a:stretch>
            <a:fillRect/>
          </a:stretch>
        </p:blipFill>
        <p:spPr>
          <a:xfrm>
            <a:off x="153927" y="690525"/>
            <a:ext cx="2014200" cy="12794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0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2" name="CustomShape 3"/>
          <p:cNvSpPr/>
          <p:nvPr/>
        </p:nvSpPr>
        <p:spPr>
          <a:xfrm>
            <a:off x="3200400" y="3962520"/>
            <a:ext cx="2818080" cy="684360"/>
          </a:xfrm>
          <a:prstGeom prst="rect">
            <a:avLst/>
          </a:prstGeom>
        </p:spPr>
      </p:sp>
      <p:sp>
        <p:nvSpPr>
          <p:cNvPr id="247" name="CustomShape 7"/>
          <p:cNvSpPr/>
          <p:nvPr/>
        </p:nvSpPr>
        <p:spPr>
          <a:xfrm>
            <a:off x="2771800" y="4725145"/>
            <a:ext cx="4536504" cy="1369305"/>
          </a:xfrm>
          <a:prstGeom prst="verticalScroll">
            <a:avLst>
              <a:gd name="adj" fmla="val 12500"/>
            </a:avLst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Содержательный анализ </a:t>
            </a: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музыки (В.А. Школяр).</a:t>
            </a:r>
            <a:endParaRPr b="1" dirty="0">
              <a:solidFill>
                <a:srgbClr val="002060"/>
              </a:solidFill>
            </a:endParaRPr>
          </a:p>
        </p:txBody>
      </p:sp>
      <p:sp>
        <p:nvSpPr>
          <p:cNvPr id="248" name="CustomShape 8"/>
          <p:cNvSpPr/>
          <p:nvPr/>
        </p:nvSpPr>
        <p:spPr>
          <a:xfrm>
            <a:off x="2915816" y="1268760"/>
            <a:ext cx="4176464" cy="1438560"/>
          </a:xfrm>
          <a:prstGeom prst="verticalScroll">
            <a:avLst>
              <a:gd name="adj" fmla="val 12500"/>
            </a:avLst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Моделирование </a:t>
            </a: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    художественно-творческого </a:t>
            </a: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процесса (Л.В. Школяр)</a:t>
            </a:r>
            <a:endParaRPr sz="2000" b="1" dirty="0">
              <a:solidFill>
                <a:srgbClr val="002060"/>
              </a:solidFill>
            </a:endParaRPr>
          </a:p>
        </p:txBody>
      </p:sp>
      <p:sp>
        <p:nvSpPr>
          <p:cNvPr id="249" name="CustomShape 9"/>
          <p:cNvSpPr/>
          <p:nvPr/>
        </p:nvSpPr>
        <p:spPr>
          <a:xfrm>
            <a:off x="2843808" y="2996952"/>
            <a:ext cx="4375288" cy="1368056"/>
          </a:xfrm>
          <a:prstGeom prst="verticalScroll">
            <a:avLst>
              <a:gd name="adj" fmla="val 12500"/>
            </a:avLst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«Сочинение сочиненного» </a:t>
            </a: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и импровизация музыки</a:t>
            </a: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</a:rPr>
              <a:t> (В.О. Усачева)</a:t>
            </a:r>
            <a:endParaRPr sz="2000" b="1" dirty="0">
              <a:solidFill>
                <a:srgbClr val="002060"/>
              </a:solidFill>
            </a:endParaRPr>
          </a:p>
        </p:txBody>
      </p:sp>
      <p:sp>
        <p:nvSpPr>
          <p:cNvPr id="250" name="CustomShape 10"/>
          <p:cNvSpPr/>
          <p:nvPr/>
        </p:nvSpPr>
        <p:spPr>
          <a:xfrm>
            <a:off x="2417733" y="252369"/>
            <a:ext cx="5183280" cy="820800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FFFFFF"/>
                </a:solidFill>
                <a:latin typeface="Times New Roman"/>
              </a:rPr>
              <a:t>Методы, используемые в работе</a:t>
            </a:r>
          </a:p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FFFFFF"/>
                </a:solidFill>
                <a:latin typeface="Times New Roman"/>
              </a:rPr>
              <a:t> по данной программе</a:t>
            </a:r>
            <a:endParaRPr dirty="0"/>
          </a:p>
        </p:txBody>
      </p:sp>
      <p:pic>
        <p:nvPicPr>
          <p:cNvPr id="15" name="Picture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74648" y="1055655"/>
            <a:ext cx="1204584" cy="1944216"/>
          </a:xfrm>
          <a:prstGeom prst="rect">
            <a:avLst/>
          </a:prstGeom>
        </p:spPr>
      </p:pic>
      <p:pic>
        <p:nvPicPr>
          <p:cNvPr id="16" name="Picture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38137" y="3282948"/>
            <a:ext cx="1261667" cy="20882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CustomShape 2"/>
          <p:cNvSpPr/>
          <p:nvPr/>
        </p:nvSpPr>
        <p:spPr>
          <a:xfrm>
            <a:off x="179512" y="4509120"/>
            <a:ext cx="2138384" cy="136815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ОБОБЩЕННЫЙ ОБРАЗ МУЗЫКИ</a:t>
            </a:r>
            <a:endParaRPr sz="1600" dirty="0">
              <a:solidFill>
                <a:schemeClr val="tx1"/>
              </a:solidFill>
            </a:endParaRPr>
          </a:p>
        </p:txBody>
      </p:sp>
      <p:sp>
        <p:nvSpPr>
          <p:cNvPr id="494" name="CustomShape 3"/>
          <p:cNvSpPr/>
          <p:nvPr/>
        </p:nvSpPr>
        <p:spPr>
          <a:xfrm>
            <a:off x="4572000" y="4509120"/>
            <a:ext cx="2047056" cy="136815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  <a:latin typeface="+mj-lt"/>
                <a:ea typeface="Times New Roman"/>
              </a:rPr>
              <a:t>ОТРАЖЕНИЕ ИСТОРИИ 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  <a:latin typeface="+mj-lt"/>
                <a:ea typeface="Times New Roman"/>
              </a:rPr>
              <a:t>И ДУШИ НАРОДА 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  <a:latin typeface="+mj-lt"/>
                <a:ea typeface="Times New Roman"/>
              </a:rPr>
              <a:t>В МУЗЫКЕ РОССИИ</a:t>
            </a:r>
            <a:endParaRPr lang="ru-RU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6" name="CustomShape 4"/>
          <p:cNvSpPr/>
          <p:nvPr/>
        </p:nvSpPr>
        <p:spPr>
          <a:xfrm>
            <a:off x="2483768" y="4509120"/>
            <a:ext cx="1872208" cy="136815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«КАК  ЖИВЕТ МУЗЫКА</a:t>
            </a:r>
            <a:r>
              <a:rPr lang="ru-RU" sz="2000" dirty="0" smtClean="0">
                <a:solidFill>
                  <a:schemeClr val="tx1"/>
                </a:solidFill>
              </a:rPr>
              <a:t>»</a:t>
            </a:r>
            <a:endParaRPr sz="2000" dirty="0">
              <a:solidFill>
                <a:schemeClr val="tx1"/>
              </a:solidFill>
            </a:endParaRPr>
          </a:p>
        </p:txBody>
      </p:sp>
      <p:pic>
        <p:nvPicPr>
          <p:cNvPr id="15" name="Рисунок 1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95536" y="1556792"/>
            <a:ext cx="1763704" cy="27089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55776" y="1556792"/>
            <a:ext cx="1872208" cy="27000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2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644008" y="1556792"/>
            <a:ext cx="1944216" cy="27000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876256" y="1556792"/>
            <a:ext cx="1872208" cy="26642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CustomShape 3"/>
          <p:cNvSpPr/>
          <p:nvPr/>
        </p:nvSpPr>
        <p:spPr>
          <a:xfrm>
            <a:off x="6876256" y="4509120"/>
            <a:ext cx="2051720" cy="136815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МУЗЫКАЛЬНАЯ ПАРТИТУРА МИРА: ГОЛОС РОССИИ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И СОБСТВЕННЫЙ ГОЛОС</a:t>
            </a:r>
            <a:endParaRPr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нтральные проблемы каждого года обучения </a:t>
            </a:r>
            <a:b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начальной школе</a:t>
            </a:r>
            <a:endParaRPr lang="ru-RU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CustomShape 1"/>
          <p:cNvSpPr/>
          <p:nvPr/>
        </p:nvSpPr>
        <p:spPr>
          <a:xfrm>
            <a:off x="457200" y="274680"/>
            <a:ext cx="8227440" cy="1140840"/>
          </a:xfrm>
          <a:prstGeom prst="rect">
            <a:avLst/>
          </a:prstGeom>
        </p:spPr>
      </p:sp>
      <p:sp>
        <p:nvSpPr>
          <p:cNvPr id="423" name="CustomShape 2"/>
          <p:cNvSpPr/>
          <p:nvPr/>
        </p:nvSpPr>
        <p:spPr>
          <a:xfrm>
            <a:off x="457200" y="1600200"/>
            <a:ext cx="8227440" cy="4523760"/>
          </a:xfrm>
          <a:prstGeom prst="rect">
            <a:avLst/>
          </a:prstGeom>
        </p:spPr>
      </p:sp>
      <p:pic>
        <p:nvPicPr>
          <p:cNvPr id="424" name="Рисунок 42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44000" y="576000"/>
            <a:ext cx="2085840" cy="2949840"/>
          </a:xfrm>
          <a:prstGeom prst="rect">
            <a:avLst/>
          </a:prstGeom>
          <a:ln w="9360">
            <a:solidFill>
              <a:srgbClr val="000000"/>
            </a:solidFill>
            <a:miter/>
          </a:ln>
        </p:spPr>
      </p:pic>
      <p:sp>
        <p:nvSpPr>
          <p:cNvPr id="425" name="CustomShape 3"/>
          <p:cNvSpPr/>
          <p:nvPr/>
        </p:nvSpPr>
        <p:spPr>
          <a:xfrm>
            <a:off x="2746350" y="-194400"/>
            <a:ext cx="5732540" cy="179820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r>
              <a:rPr lang="ru-RU" sz="2400" u="sng" dirty="0">
                <a:solidFill>
                  <a:srgbClr val="FF0000"/>
                </a:solidFill>
              </a:rPr>
              <a:t>Идея первого года обучения</a:t>
            </a:r>
            <a:r>
              <a:rPr lang="ru-RU" sz="2400" dirty="0">
                <a:solidFill>
                  <a:srgbClr val="FF0000"/>
                </a:solidFill>
              </a:rPr>
              <a:t>  -</a:t>
            </a:r>
            <a:endParaRPr/>
          </a:p>
          <a:p>
            <a:pPr>
              <a:lnSpc>
                <a:spcPct val="100000"/>
              </a:lnSpc>
            </a:pPr>
            <a:r>
              <a:rPr lang="ru-RU" sz="2400" b="1" dirty="0">
                <a:solidFill>
                  <a:srgbClr val="FF0000"/>
                </a:solidFill>
                <a:latin typeface="Calibri"/>
                <a:ea typeface="Times New Roman"/>
              </a:rPr>
              <a:t>дать  обобщенный образ музыки.</a:t>
            </a:r>
            <a:endParaRPr/>
          </a:p>
        </p:txBody>
      </p:sp>
      <p:sp>
        <p:nvSpPr>
          <p:cNvPr id="426" name="CustomShape 4"/>
          <p:cNvSpPr/>
          <p:nvPr/>
        </p:nvSpPr>
        <p:spPr>
          <a:xfrm>
            <a:off x="2520001" y="936000"/>
            <a:ext cx="5812839" cy="265212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  <a:buFont typeface="Calibri"/>
              <a:buChar char="•"/>
            </a:pPr>
            <a:r>
              <a:rPr lang="ru-RU" sz="2000" b="1" dirty="0">
                <a:latin typeface="Calibri"/>
                <a:ea typeface="Times New Roman"/>
              </a:rPr>
              <a:t>Большое место занимают опыты детского творчества: «</a:t>
            </a:r>
            <a:r>
              <a:rPr lang="ru-RU" sz="2000" b="1" dirty="0" err="1">
                <a:latin typeface="Calibri"/>
                <a:ea typeface="Times New Roman"/>
              </a:rPr>
              <a:t>омузыкаливание</a:t>
            </a:r>
            <a:r>
              <a:rPr lang="ru-RU" sz="2000" b="1" dirty="0">
                <a:latin typeface="Calibri"/>
                <a:ea typeface="Times New Roman"/>
              </a:rPr>
              <a:t>» загадок и пословиц, свободное </a:t>
            </a:r>
            <a:r>
              <a:rPr lang="ru-RU" sz="2000" b="1" dirty="0" err="1">
                <a:latin typeface="Calibri"/>
                <a:ea typeface="Times New Roman"/>
              </a:rPr>
              <a:t>музицирование</a:t>
            </a:r>
            <a:r>
              <a:rPr lang="ru-RU" sz="2000" b="1" dirty="0">
                <a:latin typeface="Calibri"/>
                <a:ea typeface="Times New Roman"/>
              </a:rPr>
              <a:t> на детских музыкальных инструментах, разыгрывание песен, народные музыкальные игры и т. д. </a:t>
            </a:r>
            <a:endParaRPr/>
          </a:p>
        </p:txBody>
      </p:sp>
      <p:sp>
        <p:nvSpPr>
          <p:cNvPr id="427" name="CustomShape 5"/>
          <p:cNvSpPr/>
          <p:nvPr/>
        </p:nvSpPr>
        <p:spPr>
          <a:xfrm>
            <a:off x="2376001" y="3548160"/>
            <a:ext cx="6175917" cy="3285720"/>
          </a:xfrm>
          <a:prstGeom prst="rect">
            <a:avLst/>
          </a:prstGeom>
        </p:spPr>
        <p:txBody>
          <a:bodyPr lIns="90000" tIns="46800" rIns="90000" bIns="46800"/>
          <a:lstStyle/>
          <a:p>
            <a:pPr>
              <a:lnSpc>
                <a:spcPct val="100000"/>
              </a:lnSpc>
            </a:pPr>
            <a:r>
              <a:rPr lang="ru-RU" sz="2000" dirty="0"/>
              <a:t>В основе технологии работы с первоклассниками лежит перевод элементарных игровых действий в сферу художественной игры. Вместе с тем такой </a:t>
            </a:r>
            <a:endParaRPr/>
          </a:p>
          <a:p>
            <a:pPr>
              <a:lnSpc>
                <a:spcPct val="100000"/>
              </a:lnSpc>
            </a:pPr>
            <a:r>
              <a:rPr lang="ru-RU" sz="2000" dirty="0"/>
              <a:t>путь облегчает вхождение детей в </a:t>
            </a:r>
            <a:endParaRPr/>
          </a:p>
          <a:p>
            <a:pPr>
              <a:lnSpc>
                <a:spcPct val="100000"/>
              </a:lnSpc>
            </a:pPr>
            <a:r>
              <a:rPr lang="ru-RU" sz="2000" dirty="0"/>
              <a:t>проблематику искусства, что становится </a:t>
            </a:r>
            <a:endParaRPr/>
          </a:p>
          <a:p>
            <a:pPr>
              <a:lnSpc>
                <a:spcPct val="100000"/>
              </a:lnSpc>
            </a:pPr>
            <a:r>
              <a:rPr lang="ru-RU" sz="2000" dirty="0"/>
              <a:t>новым уровнем в систематическом освоении мировой музыкальной культуры. </a:t>
            </a:r>
            <a:endParaRPr/>
          </a:p>
        </p:txBody>
      </p:sp>
      <p:pic>
        <p:nvPicPr>
          <p:cNvPr id="428" name="Рисунок 42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90440" y="3976695"/>
            <a:ext cx="1979280" cy="1978920"/>
          </a:xfrm>
          <a:prstGeom prst="rect">
            <a:avLst/>
          </a:prstGeom>
          <a:ln w="38160">
            <a:solidFill>
              <a:srgbClr val="000000"/>
            </a:solidFill>
            <a:miter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CustomShape 1"/>
          <p:cNvSpPr/>
          <p:nvPr/>
        </p:nvSpPr>
        <p:spPr>
          <a:xfrm>
            <a:off x="457200" y="274680"/>
            <a:ext cx="8228880" cy="1142280"/>
          </a:xfrm>
          <a:prstGeom prst="rect">
            <a:avLst/>
          </a:prstGeom>
        </p:spPr>
      </p:sp>
      <p:sp>
        <p:nvSpPr>
          <p:cNvPr id="451" name="CustomShape 2"/>
          <p:cNvSpPr/>
          <p:nvPr/>
        </p:nvSpPr>
        <p:spPr>
          <a:xfrm>
            <a:off x="457200" y="1600200"/>
            <a:ext cx="8228880" cy="4525200"/>
          </a:xfrm>
          <a:prstGeom prst="rect">
            <a:avLst/>
          </a:prstGeom>
        </p:spPr>
      </p:sp>
      <p:pic>
        <p:nvPicPr>
          <p:cNvPr id="452" name="Рисунок 45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3280" cy="6857280"/>
          </a:xfrm>
          <a:prstGeom prst="rect">
            <a:avLst/>
          </a:prstGeom>
        </p:spPr>
      </p:pic>
      <p:pic>
        <p:nvPicPr>
          <p:cNvPr id="453" name="Рисунок 45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191120" y="0"/>
            <a:ext cx="4952160" cy="6857280"/>
          </a:xfrm>
          <a:prstGeom prst="rect">
            <a:avLst/>
          </a:prstGeom>
        </p:spPr>
      </p:pic>
      <p:pic>
        <p:nvPicPr>
          <p:cNvPr id="454" name="Рисунок 45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5147640" cy="6857280"/>
          </a:xfrm>
          <a:prstGeom prst="rect">
            <a:avLst/>
          </a:prstGeom>
        </p:spPr>
      </p:pic>
      <p:sp>
        <p:nvSpPr>
          <p:cNvPr id="455" name="CustomShape 3"/>
          <p:cNvSpPr/>
          <p:nvPr/>
        </p:nvSpPr>
        <p:spPr>
          <a:xfrm>
            <a:off x="6781680" y="4952880"/>
            <a:ext cx="2361600" cy="190440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800" b="1">
                <a:solidFill>
                  <a:srgbClr val="FF0000"/>
                </a:solidFill>
              </a:rPr>
              <a:t>1 класс </a:t>
            </a:r>
            <a:endParaRPr/>
          </a:p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800" b="1">
                <a:solidFill>
                  <a:srgbClr val="FF0000"/>
                </a:solidFill>
              </a:rPr>
              <a:t>1 четверть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398240" y="3936640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5774" y="5088768"/>
            <a:ext cx="3881115" cy="720080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2000" b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9" name="Picture 12" descr="http://www.drofa.ru/images/data/cat/5829_small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12060" y="3681028"/>
            <a:ext cx="1137514" cy="16430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" name="Picture 26" descr="http://www.drofa.ru/images/data/cat/5859_bi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2816932"/>
            <a:ext cx="1415186" cy="2000264"/>
          </a:xfrm>
          <a:prstGeom prst="rect">
            <a:avLst/>
          </a:prstGeom>
          <a:noFill/>
        </p:spPr>
      </p:pic>
      <p:pic>
        <p:nvPicPr>
          <p:cNvPr id="12" name="Picture 24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43508" y="1808821"/>
            <a:ext cx="1162064" cy="1785951"/>
          </a:xfrm>
          <a:prstGeom prst="rect">
            <a:avLst/>
          </a:prstGeom>
        </p:spPr>
      </p:pic>
      <p:pic>
        <p:nvPicPr>
          <p:cNvPr id="13" name="Picture 1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63588" y="3284985"/>
            <a:ext cx="1143008" cy="1571636"/>
          </a:xfrm>
          <a:prstGeom prst="rect">
            <a:avLst/>
          </a:prstGeom>
        </p:spPr>
      </p:pic>
      <p:pic>
        <p:nvPicPr>
          <p:cNvPr id="15" name="Picture 2" descr="http://www.drofa.ru/images/data/cat/4585_small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23928" y="2744926"/>
            <a:ext cx="1214446" cy="16698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10" cstate="print"/>
          <a:srcRect l="34551" t="14273" r="34737" b="19775"/>
          <a:stretch>
            <a:fillRect/>
          </a:stretch>
        </p:blipFill>
        <p:spPr bwMode="auto">
          <a:xfrm>
            <a:off x="7632342" y="3969061"/>
            <a:ext cx="1313339" cy="16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993" name="Picture 1"/>
          <p:cNvPicPr>
            <a:picLocks noChangeAspect="1" noChangeArrowheads="1"/>
          </p:cNvPicPr>
          <p:nvPr/>
        </p:nvPicPr>
        <p:blipFill>
          <a:blip r:embed="rId11" cstate="print"/>
          <a:srcRect l="34846" t="14273" r="34442" b="19775"/>
          <a:stretch>
            <a:fillRect/>
          </a:stretch>
        </p:blipFill>
        <p:spPr bwMode="auto">
          <a:xfrm>
            <a:off x="6444208" y="2852936"/>
            <a:ext cx="1320030" cy="1700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CustomShape 1"/>
          <p:cNvSpPr/>
          <p:nvPr/>
        </p:nvSpPr>
        <p:spPr>
          <a:xfrm>
            <a:off x="457200" y="274680"/>
            <a:ext cx="8227800" cy="1141200"/>
          </a:xfrm>
          <a:prstGeom prst="rect">
            <a:avLst/>
          </a:prstGeom>
        </p:spPr>
      </p:sp>
      <p:sp>
        <p:nvSpPr>
          <p:cNvPr id="328" name="CustomShape 2"/>
          <p:cNvSpPr/>
          <p:nvPr/>
        </p:nvSpPr>
        <p:spPr>
          <a:xfrm>
            <a:off x="457200" y="1600200"/>
            <a:ext cx="8227800" cy="4524120"/>
          </a:xfrm>
          <a:prstGeom prst="rect">
            <a:avLst/>
          </a:prstGeom>
        </p:spPr>
      </p:sp>
      <p:pic>
        <p:nvPicPr>
          <p:cNvPr id="329" name="Рисунок 32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2200" cy="6856200"/>
          </a:xfrm>
          <a:prstGeom prst="rect">
            <a:avLst/>
          </a:prstGeom>
        </p:spPr>
      </p:pic>
      <p:sp>
        <p:nvSpPr>
          <p:cNvPr id="330" name="CustomShape 3"/>
          <p:cNvSpPr/>
          <p:nvPr/>
        </p:nvSpPr>
        <p:spPr>
          <a:xfrm>
            <a:off x="914400" y="0"/>
            <a:ext cx="6932520" cy="1064880"/>
          </a:xfrm>
          <a:prstGeom prst="rect">
            <a:avLst/>
          </a:prstGeom>
        </p:spPr>
      </p:sp>
      <p:pic>
        <p:nvPicPr>
          <p:cNvPr id="331" name="Рисунок 3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-225360"/>
            <a:ext cx="9142200" cy="7081560"/>
          </a:xfrm>
          <a:prstGeom prst="rect">
            <a:avLst/>
          </a:prstGeom>
        </p:spPr>
      </p:pic>
      <p:sp>
        <p:nvSpPr>
          <p:cNvPr id="332" name="CustomShape 4"/>
          <p:cNvSpPr/>
          <p:nvPr/>
        </p:nvSpPr>
        <p:spPr>
          <a:xfrm>
            <a:off x="2666880" y="5943600"/>
            <a:ext cx="3351240" cy="531720"/>
          </a:xfrm>
          <a:prstGeom prst="roundRect">
            <a:avLst>
              <a:gd name="adj" fmla="val 3600"/>
            </a:avLst>
          </a:prstGeom>
        </p:spPr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4000" b="1">
                <a:solidFill>
                  <a:srgbClr val="FF3300"/>
                </a:solidFill>
              </a:rPr>
              <a:t>1 класс</a:t>
            </a:r>
            <a:r>
              <a:rPr lang="ru-RU" sz="4000">
                <a:solidFill>
                  <a:srgbClr val="FF3300"/>
                </a:solidFill>
              </a:rPr>
              <a:t>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CustomShape 1"/>
          <p:cNvSpPr/>
          <p:nvPr/>
        </p:nvSpPr>
        <p:spPr>
          <a:xfrm>
            <a:off x="457200" y="274680"/>
            <a:ext cx="8228880" cy="1142280"/>
          </a:xfrm>
          <a:prstGeom prst="rect">
            <a:avLst/>
          </a:prstGeom>
        </p:spPr>
      </p:sp>
      <p:sp>
        <p:nvSpPr>
          <p:cNvPr id="457" name="CustomShape 2"/>
          <p:cNvSpPr/>
          <p:nvPr/>
        </p:nvSpPr>
        <p:spPr>
          <a:xfrm>
            <a:off x="457200" y="1600200"/>
            <a:ext cx="8228880" cy="4525200"/>
          </a:xfrm>
          <a:prstGeom prst="rect">
            <a:avLst/>
          </a:prstGeom>
        </p:spPr>
      </p:sp>
      <p:pic>
        <p:nvPicPr>
          <p:cNvPr id="458" name="Рисунок 45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3280" cy="6857280"/>
          </a:xfrm>
          <a:prstGeom prst="rect">
            <a:avLst/>
          </a:prstGeom>
        </p:spPr>
      </p:pic>
      <p:sp>
        <p:nvSpPr>
          <p:cNvPr id="459" name="CustomShape 3"/>
          <p:cNvSpPr/>
          <p:nvPr/>
        </p:nvSpPr>
        <p:spPr>
          <a:xfrm>
            <a:off x="380880" y="228600"/>
            <a:ext cx="5638320" cy="2513880"/>
          </a:xfrm>
          <a:prstGeom prst="rect">
            <a:avLst/>
          </a:prstGeom>
        </p:spPr>
      </p:sp>
      <p:pic>
        <p:nvPicPr>
          <p:cNvPr id="460" name="Рисунок 459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4876200" cy="6857280"/>
          </a:xfrm>
          <a:prstGeom prst="rect">
            <a:avLst/>
          </a:prstGeom>
        </p:spPr>
      </p:pic>
      <p:pic>
        <p:nvPicPr>
          <p:cNvPr id="461" name="Рисунок 46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876920" y="0"/>
            <a:ext cx="4266360" cy="6857280"/>
          </a:xfrm>
          <a:prstGeom prst="rect">
            <a:avLst/>
          </a:prstGeom>
        </p:spPr>
      </p:pic>
      <p:sp>
        <p:nvSpPr>
          <p:cNvPr id="462" name="CustomShape 4"/>
          <p:cNvSpPr/>
          <p:nvPr/>
        </p:nvSpPr>
        <p:spPr>
          <a:xfrm>
            <a:off x="3581280" y="914400"/>
            <a:ext cx="2513880" cy="121860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800" b="1">
                <a:solidFill>
                  <a:srgbClr val="FF0000"/>
                </a:solidFill>
              </a:rPr>
              <a:t>1 класс </a:t>
            </a:r>
            <a:endParaRPr/>
          </a:p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2800" b="1">
                <a:solidFill>
                  <a:srgbClr val="FF0000"/>
                </a:solidFill>
              </a:rPr>
              <a:t>1 четверть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CustomShape 1"/>
          <p:cNvSpPr/>
          <p:nvPr/>
        </p:nvSpPr>
        <p:spPr>
          <a:xfrm>
            <a:off x="457200" y="274680"/>
            <a:ext cx="8227440" cy="1140840"/>
          </a:xfrm>
          <a:prstGeom prst="rect">
            <a:avLst/>
          </a:prstGeom>
        </p:spPr>
      </p:sp>
      <p:sp>
        <p:nvSpPr>
          <p:cNvPr id="431" name="CustomShape 2"/>
          <p:cNvSpPr/>
          <p:nvPr/>
        </p:nvSpPr>
        <p:spPr>
          <a:xfrm>
            <a:off x="457200" y="1600200"/>
            <a:ext cx="8227440" cy="4523760"/>
          </a:xfrm>
          <a:prstGeom prst="rect">
            <a:avLst/>
          </a:prstGeom>
        </p:spPr>
      </p:sp>
      <p:pic>
        <p:nvPicPr>
          <p:cNvPr id="432" name="Рисунок 43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26953" y="434933"/>
            <a:ext cx="2085840" cy="2805840"/>
          </a:xfrm>
          <a:prstGeom prst="rect">
            <a:avLst/>
          </a:prstGeom>
        </p:spPr>
      </p:pic>
      <p:sp>
        <p:nvSpPr>
          <p:cNvPr id="433" name="CustomShape 3"/>
          <p:cNvSpPr/>
          <p:nvPr/>
        </p:nvSpPr>
        <p:spPr>
          <a:xfrm>
            <a:off x="2448000" y="173880"/>
            <a:ext cx="5253840" cy="167580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  <a:buFont typeface="Times New Roman"/>
              <a:buChar char="•"/>
            </a:pPr>
            <a:r>
              <a:rPr lang="ru-RU" sz="2600" b="1">
                <a:solidFill>
                  <a:srgbClr val="FF0000"/>
                </a:solidFill>
                <a:latin typeface="Times New Roman"/>
                <a:ea typeface="Times New Roman"/>
              </a:rPr>
              <a:t>Идея второго года обучения выражается в формулировке «как живет музыка». </a:t>
            </a:r>
            <a:endParaRPr/>
          </a:p>
        </p:txBody>
      </p:sp>
      <p:pic>
        <p:nvPicPr>
          <p:cNvPr id="434" name="Рисунок 43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513123" y="3648079"/>
            <a:ext cx="3741840" cy="2369880"/>
          </a:xfrm>
          <a:prstGeom prst="rect">
            <a:avLst/>
          </a:prstGeom>
        </p:spPr>
      </p:pic>
      <p:sp>
        <p:nvSpPr>
          <p:cNvPr id="435" name="CustomShape 4"/>
          <p:cNvSpPr/>
          <p:nvPr/>
        </p:nvSpPr>
        <p:spPr>
          <a:xfrm>
            <a:off x="2376000" y="1949040"/>
            <a:ext cx="5484240" cy="2224800"/>
          </a:xfrm>
          <a:prstGeom prst="rect">
            <a:avLst/>
          </a:prstGeom>
        </p:spPr>
        <p:txBody>
          <a:bodyPr lIns="90000" tIns="46800" rIns="90000" bIns="46800"/>
          <a:lstStyle/>
          <a:p>
            <a:pPr>
              <a:lnSpc>
                <a:spcPct val="100000"/>
              </a:lnSpc>
              <a:buFont typeface="Arial"/>
              <a:buChar char="•"/>
            </a:pPr>
            <a:r>
              <a:rPr lang="ru-RU" sz="2400" u="sng"/>
              <a:t>Музыка есть живой организм:</a:t>
            </a:r>
            <a:r>
              <a:rPr lang="ru-RU" sz="2400"/>
              <a:t> она рождается, видоизменяется, вступает во взаимоотношения с жизнью и другими видами искусства.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" name="Рисунок 46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1840" cy="6855840"/>
          </a:xfrm>
          <a:prstGeom prst="rect">
            <a:avLst/>
          </a:prstGeom>
        </p:spPr>
      </p:pic>
      <p:pic>
        <p:nvPicPr>
          <p:cNvPr id="468" name="Рисунок 46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370440" cy="6855840"/>
          </a:xfrm>
          <a:prstGeom prst="rect">
            <a:avLst/>
          </a:prstGeom>
        </p:spPr>
      </p:pic>
      <p:sp>
        <p:nvSpPr>
          <p:cNvPr id="469" name="CustomShape 1"/>
          <p:cNvSpPr/>
          <p:nvPr/>
        </p:nvSpPr>
        <p:spPr>
          <a:xfrm>
            <a:off x="5029200" y="304920"/>
            <a:ext cx="3731760" cy="988200"/>
          </a:xfrm>
          <a:prstGeom prst="roundRect">
            <a:avLst>
              <a:gd name="adj" fmla="val 3600"/>
            </a:avLst>
          </a:prstGeom>
        </p:spPr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4000" b="1">
                <a:solidFill>
                  <a:srgbClr val="FF3300"/>
                </a:solidFill>
              </a:rPr>
              <a:t>2 класс</a:t>
            </a:r>
            <a:r>
              <a:rPr lang="ru-RU" sz="4000">
                <a:solidFill>
                  <a:srgbClr val="FF3300"/>
                </a:solidFill>
              </a:rPr>
              <a:t>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CustomShape 1"/>
          <p:cNvSpPr/>
          <p:nvPr/>
        </p:nvSpPr>
        <p:spPr>
          <a:xfrm>
            <a:off x="457200" y="274680"/>
            <a:ext cx="8227440" cy="1140840"/>
          </a:xfrm>
          <a:prstGeom prst="rect">
            <a:avLst/>
          </a:prstGeom>
        </p:spPr>
      </p:sp>
      <p:sp>
        <p:nvSpPr>
          <p:cNvPr id="471" name="CustomShape 2"/>
          <p:cNvSpPr/>
          <p:nvPr/>
        </p:nvSpPr>
        <p:spPr>
          <a:xfrm>
            <a:off x="457200" y="1600200"/>
            <a:ext cx="8227440" cy="4523760"/>
          </a:xfrm>
          <a:prstGeom prst="rect">
            <a:avLst/>
          </a:prstGeom>
        </p:spPr>
      </p:sp>
      <p:pic>
        <p:nvPicPr>
          <p:cNvPr id="472" name="Рисунок 47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1840" cy="6855840"/>
          </a:xfrm>
          <a:prstGeom prst="rect">
            <a:avLst/>
          </a:prstGeom>
        </p:spPr>
      </p:pic>
      <p:pic>
        <p:nvPicPr>
          <p:cNvPr id="473" name="Рисунок 47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1840" cy="6855840"/>
          </a:xfrm>
          <a:prstGeom prst="rect">
            <a:avLst/>
          </a:prstGeom>
        </p:spPr>
      </p:pic>
      <p:sp>
        <p:nvSpPr>
          <p:cNvPr id="474" name="CustomShape 3"/>
          <p:cNvSpPr/>
          <p:nvPr/>
        </p:nvSpPr>
        <p:spPr>
          <a:xfrm>
            <a:off x="3124080" y="228600"/>
            <a:ext cx="3350880" cy="531360"/>
          </a:xfrm>
          <a:prstGeom prst="roundRect">
            <a:avLst>
              <a:gd name="adj" fmla="val 3600"/>
            </a:avLst>
          </a:prstGeom>
        </p:spPr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  <a:buFont typeface="Arial"/>
              <a:buChar char="•"/>
            </a:pPr>
            <a:r>
              <a:rPr lang="ru-RU" sz="4000" b="1">
                <a:solidFill>
                  <a:srgbClr val="FF3300"/>
                </a:solidFill>
              </a:rPr>
              <a:t>2 класс</a:t>
            </a:r>
            <a:r>
              <a:rPr lang="ru-RU" sz="4000">
                <a:solidFill>
                  <a:srgbClr val="FF3300"/>
                </a:solidFill>
              </a:rPr>
              <a:t>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CustomShape 1"/>
          <p:cNvSpPr/>
          <p:nvPr/>
        </p:nvSpPr>
        <p:spPr>
          <a:xfrm>
            <a:off x="457200" y="274680"/>
            <a:ext cx="8227440" cy="1140840"/>
          </a:xfrm>
          <a:prstGeom prst="rect">
            <a:avLst/>
          </a:prstGeom>
        </p:spPr>
      </p:sp>
      <p:sp>
        <p:nvSpPr>
          <p:cNvPr id="438" name="CustomShape 2"/>
          <p:cNvSpPr/>
          <p:nvPr/>
        </p:nvSpPr>
        <p:spPr>
          <a:xfrm>
            <a:off x="457200" y="1600200"/>
            <a:ext cx="8227440" cy="4523760"/>
          </a:xfrm>
          <a:prstGeom prst="rect">
            <a:avLst/>
          </a:prstGeom>
        </p:spPr>
      </p:sp>
      <p:sp>
        <p:nvSpPr>
          <p:cNvPr id="439" name="CustomShape 3"/>
          <p:cNvSpPr/>
          <p:nvPr/>
        </p:nvSpPr>
        <p:spPr>
          <a:xfrm>
            <a:off x="2520000" y="2619360"/>
            <a:ext cx="5109840" cy="350460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just">
              <a:lnSpc>
                <a:spcPct val="100000"/>
              </a:lnSpc>
            </a:pPr>
            <a:r>
              <a:rPr lang="ru-RU" sz="2800">
                <a:latin typeface="Calibri"/>
                <a:ea typeface="Times New Roman"/>
              </a:rPr>
              <a:t>У</a:t>
            </a:r>
            <a:r>
              <a:rPr lang="ru-RU" sz="2200">
                <a:latin typeface="Calibri"/>
                <a:ea typeface="Times New Roman"/>
              </a:rPr>
              <a:t>читель в каждом регионе страны</a:t>
            </a:r>
            <a:endParaRPr/>
          </a:p>
          <a:p>
            <a:pPr algn="just">
              <a:lnSpc>
                <a:spcPct val="100000"/>
              </a:lnSpc>
            </a:pPr>
            <a:r>
              <a:rPr lang="ru-RU" sz="2200">
                <a:latin typeface="Calibri"/>
                <a:ea typeface="Times New Roman"/>
              </a:rPr>
              <a:t>начнет занятия с музыки, бытующей </a:t>
            </a:r>
            <a:endParaRPr/>
          </a:p>
          <a:p>
            <a:pPr algn="just">
              <a:lnSpc>
                <a:spcPct val="100000"/>
              </a:lnSpc>
            </a:pPr>
            <a:r>
              <a:rPr lang="ru-RU" sz="2200">
                <a:latin typeface="Calibri"/>
                <a:ea typeface="Times New Roman"/>
              </a:rPr>
              <a:t>в данной местности, с национальной музыки, постепенно охватывая ближнее</a:t>
            </a:r>
            <a:endParaRPr/>
          </a:p>
          <a:p>
            <a:pPr algn="just">
              <a:lnSpc>
                <a:spcPct val="100000"/>
              </a:lnSpc>
            </a:pPr>
            <a:r>
              <a:rPr lang="ru-RU" sz="2200">
                <a:latin typeface="Calibri"/>
                <a:ea typeface="Times New Roman"/>
              </a:rPr>
              <a:t>и дальнее зарубежье и показывая, как музыка исторически становилась универсальным средством общения, передачи духовных ценностей.</a:t>
            </a:r>
            <a:endParaRPr/>
          </a:p>
        </p:txBody>
      </p:sp>
      <p:sp>
        <p:nvSpPr>
          <p:cNvPr id="440" name="CustomShape 4"/>
          <p:cNvSpPr/>
          <p:nvPr/>
        </p:nvSpPr>
        <p:spPr>
          <a:xfrm>
            <a:off x="2664000" y="274680"/>
            <a:ext cx="4533840" cy="185292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endParaRPr/>
          </a:p>
          <a:p>
            <a:pPr algn="ctr">
              <a:lnSpc>
                <a:spcPct val="100000"/>
              </a:lnSpc>
            </a:pPr>
            <a:endParaRPr/>
          </a:p>
          <a:p>
            <a:pPr algn="ctr">
              <a:lnSpc>
                <a:spcPct val="100000"/>
              </a:lnSpc>
            </a:pPr>
            <a:endParaRPr/>
          </a:p>
          <a:p>
            <a:pPr algn="ctr">
              <a:lnSpc>
                <a:spcPct val="100000"/>
              </a:lnSpc>
            </a:pPr>
            <a:r>
              <a:rPr lang="ru-RU" sz="2600" b="1">
                <a:solidFill>
                  <a:srgbClr val="FF0000"/>
                </a:solidFill>
                <a:latin typeface="Calibri"/>
                <a:ea typeface="Times New Roman"/>
              </a:rPr>
              <a:t>Основная идея содержания третьего года обучения — отражение истории и души народа в музыке России. </a:t>
            </a:r>
            <a:endParaRPr/>
          </a:p>
          <a:p>
            <a:pPr algn="ctr">
              <a:lnSpc>
                <a:spcPct val="100000"/>
              </a:lnSpc>
            </a:pPr>
            <a:endParaRPr/>
          </a:p>
        </p:txBody>
      </p:sp>
      <p:pic>
        <p:nvPicPr>
          <p:cNvPr id="441" name="Рисунок 44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164423" y="763551"/>
            <a:ext cx="1610640" cy="2410920"/>
          </a:xfrm>
          <a:prstGeom prst="rect">
            <a:avLst/>
          </a:prstGeom>
          <a:ln w="9360">
            <a:solidFill>
              <a:srgbClr val="000000"/>
            </a:solidFill>
            <a:miter/>
          </a:ln>
        </p:spPr>
      </p:pic>
      <p:pic>
        <p:nvPicPr>
          <p:cNvPr id="442" name="Рисунок 44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09518" y="3744000"/>
            <a:ext cx="1700442" cy="1912293"/>
          </a:xfrm>
          <a:prstGeom prst="rect">
            <a:avLst/>
          </a:prstGeom>
          <a:ln w="9360">
            <a:solidFill>
              <a:srgbClr val="000000"/>
            </a:solidFill>
            <a:miter/>
          </a:ln>
        </p:spPr>
      </p:pic>
      <p:pic>
        <p:nvPicPr>
          <p:cNvPr id="443" name="Рисунок 44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26954" y="504000"/>
            <a:ext cx="2002887" cy="2661840"/>
          </a:xfrm>
          <a:prstGeom prst="rect">
            <a:avLst/>
          </a:prstGeom>
          <a:ln w="9360">
            <a:solidFill>
              <a:srgbClr val="000000"/>
            </a:solidFill>
            <a:miter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5" name="Рисунок 47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3492360"/>
            <a:ext cx="2741040" cy="3363480"/>
          </a:xfrm>
          <a:prstGeom prst="rect">
            <a:avLst/>
          </a:prstGeom>
        </p:spPr>
      </p:pic>
      <p:pic>
        <p:nvPicPr>
          <p:cNvPr id="476" name="Рисунок 47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1840" cy="6855840"/>
          </a:xfrm>
          <a:prstGeom prst="rect">
            <a:avLst/>
          </a:prstGeom>
        </p:spPr>
      </p:pic>
      <p:pic>
        <p:nvPicPr>
          <p:cNvPr id="477" name="Рисунок 47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562640" y="3400560"/>
            <a:ext cx="16560" cy="54720"/>
          </a:xfrm>
          <a:prstGeom prst="rect">
            <a:avLst/>
          </a:prstGeom>
        </p:spPr>
      </p:pic>
      <p:pic>
        <p:nvPicPr>
          <p:cNvPr id="478" name="Рисунок 47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562640" y="3400560"/>
            <a:ext cx="16560" cy="54720"/>
          </a:xfrm>
          <a:prstGeom prst="rect">
            <a:avLst/>
          </a:prstGeom>
        </p:spPr>
      </p:pic>
      <p:pic>
        <p:nvPicPr>
          <p:cNvPr id="479" name="Рисунок 47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9141840" cy="6855840"/>
          </a:xfrm>
          <a:prstGeom prst="rect">
            <a:avLst/>
          </a:prstGeom>
        </p:spPr>
      </p:pic>
      <p:sp>
        <p:nvSpPr>
          <p:cNvPr id="480" name="CustomShape 1"/>
          <p:cNvSpPr/>
          <p:nvPr/>
        </p:nvSpPr>
        <p:spPr>
          <a:xfrm>
            <a:off x="6156176" y="5733256"/>
            <a:ext cx="3731760" cy="1369440"/>
          </a:xfrm>
          <a:prstGeom prst="roundRect">
            <a:avLst>
              <a:gd name="adj" fmla="val 3600"/>
            </a:avLst>
          </a:prstGeom>
        </p:spPr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</a:pPr>
            <a:endParaRPr dirty="0"/>
          </a:p>
          <a:p>
            <a:pPr algn="ctr">
              <a:lnSpc>
                <a:spcPct val="100000"/>
              </a:lnSpc>
            </a:pPr>
            <a:r>
              <a:rPr lang="ru-RU" sz="4000" b="1" dirty="0">
                <a:solidFill>
                  <a:srgbClr val="FF3300"/>
                </a:solidFill>
              </a:rPr>
              <a:t>3 класс</a:t>
            </a:r>
            <a:r>
              <a:rPr lang="ru-RU" sz="4000" dirty="0">
                <a:solidFill>
                  <a:srgbClr val="FF3300"/>
                </a:solidFill>
              </a:rPr>
              <a:t> 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CustomShape 1"/>
          <p:cNvSpPr/>
          <p:nvPr/>
        </p:nvSpPr>
        <p:spPr>
          <a:xfrm>
            <a:off x="457200" y="274680"/>
            <a:ext cx="8227440" cy="1140840"/>
          </a:xfrm>
          <a:prstGeom prst="rect">
            <a:avLst/>
          </a:prstGeom>
        </p:spPr>
      </p:sp>
      <p:sp>
        <p:nvSpPr>
          <p:cNvPr id="446" name="CustomShape 2"/>
          <p:cNvSpPr/>
          <p:nvPr/>
        </p:nvSpPr>
        <p:spPr>
          <a:xfrm>
            <a:off x="457200" y="1600200"/>
            <a:ext cx="8227440" cy="4523760"/>
          </a:xfrm>
          <a:prstGeom prst="rect">
            <a:avLst/>
          </a:prstGeom>
        </p:spPr>
      </p:sp>
      <p:sp>
        <p:nvSpPr>
          <p:cNvPr id="447" name="CustomShape 3"/>
          <p:cNvSpPr/>
          <p:nvPr/>
        </p:nvSpPr>
        <p:spPr>
          <a:xfrm>
            <a:off x="2454246" y="2771767"/>
            <a:ext cx="6093720" cy="338364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  <a:ea typeface="Times New Roman"/>
              </a:rPr>
              <a:t>В рамках этой идеи исследуется взаимодействие русской музыки и </a:t>
            </a:r>
            <a:endParaRPr/>
          </a:p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  <a:ea typeface="Times New Roman"/>
              </a:rPr>
              <a:t>музыки ближнего зарубежья с мировой музыкальной культурой. </a:t>
            </a:r>
            <a:endParaRPr/>
          </a:p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  <a:ea typeface="Times New Roman"/>
              </a:rPr>
              <a:t>Здесь две стороны проблемы: </a:t>
            </a:r>
            <a:endParaRPr/>
          </a:p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  <a:ea typeface="Times New Roman"/>
              </a:rPr>
              <a:t>чему и как русская музыка «училась» </a:t>
            </a:r>
            <a:endParaRPr/>
          </a:p>
          <a:p>
            <a:pPr>
              <a:lnSpc>
                <a:spcPct val="100000"/>
              </a:lnSpc>
            </a:pPr>
            <a:r>
              <a:rPr lang="ru-RU" sz="2400" dirty="0">
                <a:latin typeface="Calibri"/>
                <a:ea typeface="Times New Roman"/>
              </a:rPr>
              <a:t>у музыки других стран; чему и как она «учила» зарубежную музыку.</a:t>
            </a:r>
            <a:endParaRPr/>
          </a:p>
        </p:txBody>
      </p:sp>
      <p:sp>
        <p:nvSpPr>
          <p:cNvPr id="448" name="CustomShape 4"/>
          <p:cNvSpPr/>
          <p:nvPr/>
        </p:nvSpPr>
        <p:spPr>
          <a:xfrm>
            <a:off x="2088000" y="432000"/>
            <a:ext cx="5613840" cy="2309040"/>
          </a:xfrm>
          <a:prstGeom prst="rect">
            <a:avLst/>
          </a:prstGeom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400" b="1" dirty="0">
                <a:solidFill>
                  <a:srgbClr val="FF0000"/>
                </a:solidFill>
                <a:latin typeface="Calibri"/>
                <a:ea typeface="Times New Roman"/>
              </a:rPr>
              <a:t>   Основная идея содержания четвертого года обучения — развернуть перед выпускниками начальной школы музыкальную партитуру мира, услышать в ней голос России и свой собственный голос.</a:t>
            </a:r>
            <a:endParaRPr dirty="0"/>
          </a:p>
        </p:txBody>
      </p:sp>
      <p:pic>
        <p:nvPicPr>
          <p:cNvPr id="449" name="Рисунок 44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09518" y="1201707"/>
            <a:ext cx="1690304" cy="25628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" name="Picture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3492360"/>
            <a:ext cx="2741760" cy="3364200"/>
          </a:xfrm>
          <a:prstGeom prst="rect">
            <a:avLst/>
          </a:prstGeom>
        </p:spPr>
      </p:pic>
      <p:pic>
        <p:nvPicPr>
          <p:cNvPr id="482" name="Picture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2560" cy="6856560"/>
          </a:xfrm>
          <a:prstGeom prst="rect">
            <a:avLst/>
          </a:prstGeom>
        </p:spPr>
      </p:pic>
      <p:pic>
        <p:nvPicPr>
          <p:cNvPr id="483" name="Picture 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2560" cy="6856560"/>
          </a:xfrm>
          <a:prstGeom prst="rect">
            <a:avLst/>
          </a:prstGeom>
        </p:spPr>
      </p:pic>
      <p:sp>
        <p:nvSpPr>
          <p:cNvPr id="484" name="CustomShape 1"/>
          <p:cNvSpPr/>
          <p:nvPr/>
        </p:nvSpPr>
        <p:spPr>
          <a:xfrm>
            <a:off x="3124080" y="228600"/>
            <a:ext cx="3351240" cy="532080"/>
          </a:xfrm>
          <a:prstGeom prst="roundRect">
            <a:avLst>
              <a:gd name="adj" fmla="val 16667"/>
            </a:avLst>
          </a:prstGeom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4000" b="1">
                <a:solidFill>
                  <a:srgbClr val="FF3300"/>
                </a:solidFill>
                <a:latin typeface="Calibri"/>
              </a:rPr>
              <a:t>4 класс</a:t>
            </a:r>
            <a:r>
              <a:rPr lang="ru-RU" sz="4000">
                <a:solidFill>
                  <a:srgbClr val="000000"/>
                </a:solidFill>
                <a:latin typeface="Calibri"/>
              </a:rPr>
              <a:t> 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6" name="Рисунок 48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857232"/>
            <a:ext cx="1944216" cy="2731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7" name="Рисунок 48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357422" y="1142984"/>
            <a:ext cx="1872208" cy="27198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8" name="Рисунок 48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714876" y="1214422"/>
            <a:ext cx="1944216" cy="2704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92" name="CustomShape 2"/>
          <p:cNvSpPr/>
          <p:nvPr/>
        </p:nvSpPr>
        <p:spPr>
          <a:xfrm>
            <a:off x="0" y="3929066"/>
            <a:ext cx="2139492" cy="151216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НА ПЕРЕКРЕСТКЕ ИСКУССТВ-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ХУДОЖЕСТВЕННОЕ ПОЗНАНИЕ МИР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94" name="CustomShape 3"/>
          <p:cNvSpPr/>
          <p:nvPr/>
        </p:nvSpPr>
        <p:spPr>
          <a:xfrm>
            <a:off x="4714876" y="4071942"/>
            <a:ext cx="2047056" cy="151216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МУЗЫКАЛЬНЫЙ ОБРАЗ 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И МУЗЫКАЛЬНАЯ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ДРАМАТУРГИЯ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96" name="CustomShape 4"/>
          <p:cNvSpPr/>
          <p:nvPr/>
        </p:nvSpPr>
        <p:spPr>
          <a:xfrm>
            <a:off x="2285984" y="4500570"/>
            <a:ext cx="2232248" cy="151216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МУЗЫКАЛЬНАЯ КУЛЬТУРА 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КАК ЧАСТЬ 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ДУХОВНОЙ КУЛЬТУРЫ ЧЕЛОВЕК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нтральные проблемы каждого года обучения </a:t>
            </a:r>
            <a:b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основной школе</a:t>
            </a:r>
            <a:endParaRPr lang="ru-RU" sz="2400" b="1" dirty="0">
              <a:solidFill>
                <a:srgbClr val="FF0000"/>
              </a:solidFill>
            </a:endParaRPr>
          </a:p>
        </p:txBody>
      </p:sp>
      <p:pic>
        <p:nvPicPr>
          <p:cNvPr id="56321" name="Picture 1"/>
          <p:cNvPicPr>
            <a:picLocks noChangeAspect="1" noChangeArrowheads="1"/>
          </p:cNvPicPr>
          <p:nvPr/>
        </p:nvPicPr>
        <p:blipFill>
          <a:blip r:embed="rId5"/>
          <a:srcRect l="31875" t="8333" r="32968" b="10000"/>
          <a:stretch>
            <a:fillRect/>
          </a:stretch>
        </p:blipFill>
        <p:spPr bwMode="auto">
          <a:xfrm>
            <a:off x="6858016" y="928670"/>
            <a:ext cx="2077533" cy="27146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CustomShape 4"/>
          <p:cNvSpPr/>
          <p:nvPr/>
        </p:nvSpPr>
        <p:spPr>
          <a:xfrm>
            <a:off x="6911752" y="4500570"/>
            <a:ext cx="2089404" cy="151216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endParaRPr lang="ru-RU" sz="1600" dirty="0" smtClean="0"/>
          </a:p>
          <a:p>
            <a:pPr algn="ctr"/>
            <a:r>
              <a:rPr lang="ru-RU" dirty="0" smtClean="0"/>
              <a:t>МУЗЫКА.</a:t>
            </a:r>
          </a:p>
          <a:p>
            <a:pPr algn="ctr"/>
            <a:r>
              <a:rPr lang="ru-RU" dirty="0" smtClean="0"/>
              <a:t> ВРЕМЯ.</a:t>
            </a:r>
          </a:p>
          <a:p>
            <a:pPr algn="ctr"/>
            <a:r>
              <a:rPr lang="ru-RU" dirty="0" smtClean="0"/>
              <a:t> СОБЫТИЯ.</a:t>
            </a:r>
            <a:endParaRPr lang="ru-RU" sz="1600" dirty="0" smtClean="0"/>
          </a:p>
          <a:p>
            <a:r>
              <a:rPr lang="ru-RU" sz="1600" dirty="0" smtClean="0"/>
              <a:t/>
            </a:r>
            <a:br>
              <a:rPr lang="ru-RU" sz="1600" dirty="0" smtClean="0"/>
            </a:b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TextShape 1"/>
          <p:cNvSpPr txBox="1"/>
          <p:nvPr/>
        </p:nvSpPr>
        <p:spPr>
          <a:xfrm>
            <a:off x="1043640" y="189000"/>
            <a:ext cx="7704360" cy="1115640"/>
          </a:xfrm>
          <a:prstGeom prst="rect">
            <a:avLst/>
          </a:prstGeom>
          <a:gradFill>
            <a:gsLst>
              <a:gs pos="0">
                <a:srgbClr val="FFDED0"/>
              </a:gs>
              <a:gs pos="100000">
                <a:srgbClr val="FFF1EC"/>
              </a:gs>
            </a:gsLst>
            <a:lin ang="16200000"/>
          </a:gradFill>
          <a:ln w="9360">
            <a:solidFill>
              <a:srgbClr val="F59240"/>
            </a:solidFill>
            <a:round/>
          </a:ln>
        </p:spPr>
        <p:txBody>
          <a:bodyPr anchor="ctr"/>
          <a:lstStyle/>
          <a:p>
            <a:pPr algn="ctr">
              <a:lnSpc>
                <a:spcPct val="100000"/>
              </a:lnSpc>
            </a:pPr>
            <a:r>
              <a:rPr lang="ru-RU" sz="36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Нормативно-правовые документы</a:t>
            </a:r>
            <a:endParaRPr lang="ru-RU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  <p:sp>
        <p:nvSpPr>
          <p:cNvPr id="569" name="TextShape 2"/>
          <p:cNvSpPr txBox="1"/>
          <p:nvPr/>
        </p:nvSpPr>
        <p:spPr>
          <a:xfrm>
            <a:off x="142844" y="1880828"/>
            <a:ext cx="8358246" cy="375503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marL="180975" indent="-179388">
              <a:lnSpc>
                <a:spcPct val="100000"/>
              </a:lnSpc>
              <a:buClr>
                <a:srgbClr val="000000"/>
              </a:buClr>
            </a:pPr>
            <a:r>
              <a:rPr lang="ru-RU" sz="18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-</a:t>
            </a: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Федеральный Закон </a:t>
            </a:r>
            <a:r>
              <a:rPr lang="ru-RU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от 29.12.2012 № 273-ФЗ </a:t>
            </a: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«Об образовании в </a:t>
            </a:r>
            <a:r>
              <a:rPr lang="ru-RU" b="1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Российской</a:t>
            </a:r>
            <a:r>
              <a:rPr lang="en-US" b="1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ru-RU" b="1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Федерации</a:t>
            </a: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». (</a:t>
            </a:r>
            <a:r>
              <a:rPr lang="ru-RU" b="1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статьи 18, 47)</a:t>
            </a:r>
            <a:endParaRPr lang="ru-RU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341313" indent="-341313">
              <a:lnSpc>
                <a:spcPct val="100000"/>
              </a:lnSpc>
              <a:buClr>
                <a:srgbClr val="000000"/>
              </a:buClr>
              <a:tabLst>
                <a:tab pos="180975" algn="l"/>
              </a:tabLst>
            </a:pP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-Приказ </a:t>
            </a:r>
            <a:r>
              <a:rPr lang="ru-RU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Министерства образования и науки Российской Федерации от 17.12.2010  № 1897 </a:t>
            </a: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«Об утверждении федерального государственного образовательного стандарта основного общего образования».</a:t>
            </a:r>
            <a:endParaRPr lang="ru-RU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 marL="343080" indent="-342720">
              <a:lnSpc>
                <a:spcPct val="100000"/>
              </a:lnSpc>
              <a:buClr>
                <a:srgbClr val="000000"/>
              </a:buClr>
            </a:pPr>
            <a:r>
              <a:rPr lang="ru-RU" b="1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-</a:t>
            </a:r>
            <a:r>
              <a:rPr lang="ru-RU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Приказ </a:t>
            </a:r>
            <a:r>
              <a:rPr lang="ru-RU" b="0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Минобрнауки</a:t>
            </a:r>
            <a:r>
              <a:rPr lang="ru-RU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России от 31.12.2015 № 1577 «О внесении изменений в федеральный государственный образовательный стандарт основного общего образования, утвержденный приказом Министерства образования и науки Российской Федерации от 17 декабря 2010 г. № 1897» </a:t>
            </a:r>
            <a:r>
              <a:rPr lang="ru-RU" sz="1600" b="0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 </a:t>
            </a:r>
          </a:p>
          <a:p>
            <a:pPr marL="343080" indent="-342720">
              <a:lnSpc>
                <a:spcPct val="100000"/>
              </a:lnSpc>
              <a:buClr>
                <a:srgbClr val="000000"/>
              </a:buClr>
            </a:pPr>
            <a:r>
              <a:rPr lang="ru-RU" sz="1600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      </a:t>
            </a:r>
            <a:r>
              <a:rPr lang="ru-RU" sz="1600" b="0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 </a:t>
            </a:r>
            <a:r>
              <a:rPr lang="ru-RU" sz="900" b="0" strike="noStrike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(зарегистрировано </a:t>
            </a:r>
            <a:r>
              <a:rPr lang="ru-RU" sz="900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</a:rPr>
              <a:t>в Минюсте России 02.02.2016 № 40937)</a:t>
            </a:r>
            <a:endParaRPr lang="ru-RU" sz="24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  <a:p>
            <a:pPr>
              <a:lnSpc>
                <a:spcPct val="100000"/>
              </a:lnSpc>
            </a:pPr>
            <a:endParaRPr lang="ru-RU" sz="2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21753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8" name="Table 1"/>
          <p:cNvGraphicFramePr/>
          <p:nvPr/>
        </p:nvGraphicFramePr>
        <p:xfrm>
          <a:off x="143509" y="832057"/>
          <a:ext cx="9000492" cy="5305280"/>
        </p:xfrm>
        <a:graphic>
          <a:graphicData uri="http://schemas.openxmlformats.org/drawingml/2006/table">
            <a:tbl>
              <a:tblPr/>
              <a:tblGrid>
                <a:gridCol w="2204068"/>
                <a:gridCol w="2351736"/>
                <a:gridCol w="1944389"/>
                <a:gridCol w="2500299"/>
              </a:tblGrid>
              <a:tr h="1413171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00"/>
                          </a:solidFill>
                        </a:rPr>
                        <a:t>5 КЛАСС- 35 ч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На перекрестке искусств-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художественное познание мира</a:t>
                      </a:r>
                      <a:endParaRPr sz="19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00"/>
                          </a:solidFill>
                        </a:rPr>
                        <a:t>6 КЛАСС- 35 ч.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Музыкальная культура как  часть 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духовной культуры 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человека</a:t>
                      </a:r>
                      <a:endParaRPr sz="19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00"/>
                          </a:solidFill>
                        </a:rPr>
                        <a:t>7 КЛАСС -35 ч.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>
                          <a:solidFill>
                            <a:srgbClr val="0000FF"/>
                          </a:solidFill>
                        </a:rPr>
                        <a:t>Музыкальный образ и </a:t>
                      </a:r>
                      <a:endParaRPr sz="19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FF"/>
                          </a:solidFill>
                        </a:rPr>
                        <a:t>музыкальная</a:t>
                      </a:r>
                      <a:endParaRPr sz="1900" i="0" smtClean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FF"/>
                          </a:solidFill>
                        </a:rPr>
                        <a:t>драматургия</a:t>
                      </a:r>
                      <a:endParaRPr sz="19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00"/>
                          </a:solidFill>
                        </a:rPr>
                        <a:t>8 КЛАСС -35 ч.</a:t>
                      </a:r>
                      <a:endParaRPr lang="ru-RU" sz="1900" i="0" dirty="0" smtClean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FF"/>
                          </a:solidFill>
                        </a:rPr>
                        <a:t>Музыка. </a:t>
                      </a:r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FF"/>
                          </a:solidFill>
                        </a:rPr>
                        <a:t>Время. </a:t>
                      </a:r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900" b="1" i="0" dirty="0" smtClean="0">
                          <a:solidFill>
                            <a:srgbClr val="0000FF"/>
                          </a:solidFill>
                        </a:rPr>
                        <a:t>События.</a:t>
                      </a:r>
                      <a:endParaRPr sz="1900" i="0" dirty="0"/>
                    </a:p>
                  </a:txBody>
                  <a:tcPr/>
                </a:tc>
              </a:tr>
              <a:tr h="587481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ИСКУССТВО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СЛЫШАТЬ</a:t>
                      </a: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, ИСКУССТВО ВИДЕТЬ –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6ч</a:t>
                      </a: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МУЗЫКА В ЖИЗНИ, ЖИЗНЬ  В МУЗЫКЕ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– 6ч</a:t>
                      </a: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ЗАКОНЫ ЖИЗНИ-ЗАКОНЫ МУЗЫКИ -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6ч</a:t>
                      </a:r>
                      <a:endParaRPr sz="140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ШИ ВЕЛИКИЕ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ВРЕМЕННИКИ- 12ч</a:t>
                      </a:r>
                      <a:endParaRPr lang="ru-RU" sz="1400" i="0" dirty="0"/>
                    </a:p>
                  </a:txBody>
                  <a:tcPr/>
                </a:tc>
              </a:tr>
              <a:tr h="908943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ИСТОКИ ТВОРЧЕСТВА- 8 ч</a:t>
                      </a: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ВОСПРИЯТИЕ МУЗЫКИ КАК УМЕНИЕ СЛЫШАТЬ МУЗЫКУ И РАЗМЫШЛЯТЬ О НЕЙ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-14ч</a:t>
                      </a: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>
                          <a:solidFill>
                            <a:srgbClr val="000000"/>
                          </a:solidFill>
                        </a:rPr>
                        <a:t>ОПЕРНАЯ ДРАМАТУРГИЯ КАК СИНТЕТИЧЕСКОЕ ДЕЙСТВИЕ- 17 ч</a:t>
                      </a:r>
                      <a:endParaRPr sz="140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ИЛЬ — ЭТО ЧЕЛОВЕК-8ч</a:t>
                      </a:r>
                      <a:endParaRPr lang="ru-RU" sz="1400" i="0" dirty="0"/>
                    </a:p>
                  </a:txBody>
                  <a:tcPr/>
                </a:tc>
              </a:tr>
              <a:tr h="694498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ОБРАЗНЫЙ</a:t>
                      </a:r>
                      <a:r>
                        <a:rPr lang="en-US" sz="1400" b="1" i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ЯЗЫК </a:t>
                      </a:r>
                      <a:r>
                        <a:rPr lang="en-US" sz="1400" b="1" i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ИСКУССТВА </a:t>
                      </a: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-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9ч</a:t>
                      </a:r>
                      <a:endParaRPr sz="1400" i="0" dirty="0"/>
                    </a:p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ЗАКОНЫ ХУДОЖЕСТВЕННОГО ТВОРЧЕСТВА-15 ч</a:t>
                      </a:r>
                      <a:endParaRPr sz="140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КОМПОЗИТОР И ВРЕМЯ –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12 </a:t>
                      </a: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ч</a:t>
                      </a:r>
                      <a:endParaRPr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ОИСКАХ НОВЫХ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ВУКОВ- 4ч</a:t>
                      </a:r>
                      <a:endParaRPr lang="ru-RU" sz="1400" i="0" dirty="0"/>
                    </a:p>
                  </a:txBody>
                  <a:tcPr/>
                </a:tc>
              </a:tr>
              <a:tr h="509228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r>
                        <a:rPr lang="ru-RU" sz="1400" b="1" i="0" dirty="0">
                          <a:solidFill>
                            <a:srgbClr val="000000"/>
                          </a:solidFill>
                        </a:rPr>
                        <a:t>ПУТЬ К СЛУШАТЕЛЮ, ЧИТЕТЕЛЮ, </a:t>
                      </a:r>
                      <a:r>
                        <a:rPr lang="ru-RU" sz="1400" b="1" i="0" dirty="0" smtClean="0">
                          <a:solidFill>
                            <a:srgbClr val="000000"/>
                          </a:solidFill>
                        </a:rPr>
                        <a:t>ЗРИТЕЛЮ-12ч</a:t>
                      </a:r>
                      <a:endParaRPr sz="140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ru-RU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ru-RU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MO CANTOR —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ПОЮЩИЙ -2ч</a:t>
                      </a:r>
                      <a:endParaRPr lang="ru-RU" sz="1400" i="0" dirty="0"/>
                    </a:p>
                  </a:txBody>
                  <a:tcPr/>
                </a:tc>
              </a:tr>
              <a:tr h="1138275">
                <a:tc>
                  <a:txBody>
                    <a:bodyPr/>
                    <a:lstStyle/>
                    <a:p>
                      <a:pPr>
                        <a:lnSpc>
                          <a:spcPct val="93000"/>
                        </a:lnSpc>
                        <a:buFontTx/>
                        <a:buNone/>
                      </a:pPr>
                      <a:endParaRPr sz="1400" i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ru-RU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endParaRPr lang="ru-RU" sz="14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УЗЫКАЛЬНОЕ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КУССТВО КАК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КРЕННЯЯ РЕЧЬ,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РАЩЁННАЯ</a:t>
                      </a:r>
                    </a:p>
                    <a:p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 ЛЮДЯМ (9 Ч)</a:t>
                      </a:r>
                      <a:endParaRPr lang="ru-RU" sz="1400" i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99" name="CustomShape 2"/>
          <p:cNvSpPr/>
          <p:nvPr/>
        </p:nvSpPr>
        <p:spPr>
          <a:xfrm>
            <a:off x="1043608" y="188640"/>
            <a:ext cx="7313040" cy="455040"/>
          </a:xfrm>
          <a:prstGeom prst="roundRect">
            <a:avLst>
              <a:gd name="adj" fmla="val 3600"/>
            </a:avLst>
          </a:prstGeom>
          <a:solidFill>
            <a:srgbClr val="FFFFF7"/>
          </a:solidFill>
          <a:ln w="25560">
            <a:solidFill>
              <a:srgbClr val="BCBCB6"/>
            </a:solidFill>
            <a:miter/>
          </a:ln>
        </p:spPr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2000" b="1" dirty="0">
                <a:solidFill>
                  <a:srgbClr val="FF0000"/>
                </a:solidFill>
              </a:rPr>
              <a:t>СОДЕРЖАНИЕ  </a:t>
            </a:r>
            <a:r>
              <a:rPr lang="ru-RU" sz="2000" b="1" dirty="0" smtClean="0">
                <a:solidFill>
                  <a:srgbClr val="FF0000"/>
                </a:solidFill>
              </a:rPr>
              <a:t>КУРСА МУЗЫКИ 5-8 КЛАСС</a:t>
            </a:r>
            <a:endParaRPr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1</a:t>
            </a:fld>
            <a:endParaRPr lang="ru-RU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123728" y="260649"/>
            <a:ext cx="6683780" cy="648955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altLang="zh-CN" sz="1600" dirty="0" smtClean="0">
                <a:solidFill>
                  <a:schemeClr val="tx1"/>
                </a:solidFill>
                <a:latin typeface="+mj-lt"/>
                <a:ea typeface="SimSun" pitchFamily="2" charset="-122"/>
                <a:cs typeface="Times New Roman" pitchFamily="18" charset="0"/>
              </a:rPr>
              <a:t>Все  художественно-информационное пространство учебника организовано в соответствии с </a:t>
            </a:r>
            <a:r>
              <a:rPr lang="ru-RU" altLang="zh-CN" sz="1600" b="1" dirty="0" smtClean="0">
                <a:solidFill>
                  <a:srgbClr val="FF0000"/>
                </a:solidFill>
                <a:latin typeface="+mj-lt"/>
                <a:ea typeface="SimSun" pitchFamily="2" charset="-122"/>
                <a:cs typeface="Times New Roman" pitchFamily="18" charset="0"/>
              </a:rPr>
              <a:t>главной идеей курса – развитие художественного мышления.</a:t>
            </a:r>
            <a:endParaRPr lang="ru-RU" sz="16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344707" y="1019143"/>
            <a:ext cx="6408712" cy="5078313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zh-CN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SimSun" pitchFamily="2" charset="-122"/>
                <a:cs typeface="Times New Roman" pitchFamily="18" charset="0"/>
              </a:rPr>
              <a:t> 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На страницах учебника пятиклассники встретятся 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с условными обозначениями, </a:t>
            </a:r>
            <a:r>
              <a:rPr kumimoji="0" lang="ru-RU" altLang="zh-CN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 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дифференцирующими 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zh-CN" sz="16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опросы  и  задания  на  5 групп: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6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solidFill>
                <a:schemeClr val="tx1"/>
              </a:solidFill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600298" y="1895454"/>
            <a:ext cx="5904656" cy="403187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опросы и задания, заставляющие подростков </a:t>
            </a:r>
            <a:r>
              <a:rPr kumimoji="0" lang="ru-RU" altLang="zh-CN" sz="1600" b="0" i="0" u="sng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зглянуть в себя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, осознать свою причастность к музыке, литературе, изобразительному искусству и культуре своего народа; поразмышлять  над своими поступками, развить в себе положительные качества, помогающие стать достойным членом общества.</a:t>
            </a: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задания, позволяющие </a:t>
            </a:r>
            <a:r>
              <a:rPr kumimoji="0" lang="ru-RU" altLang="zh-CN" sz="1600" b="0" i="0" u="sng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организовать самостоятельную деятельность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, управлять ею на всех этапах от постановки цели до получения конечного результата.</a:t>
            </a: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опросы и задания, направленные </a:t>
            </a:r>
            <a:r>
              <a:rPr kumimoji="0" lang="ru-RU" altLang="zh-CN" sz="1600" b="0" i="0" u="sng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на работу с различными видами источников информации.</a:t>
            </a:r>
            <a:endParaRPr kumimoji="0" lang="ru-RU" altLang="zh-CN" sz="1600" b="0" i="0" u="sng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опросы и задания под рубрикой </a:t>
            </a:r>
            <a:r>
              <a:rPr kumimoji="0" lang="ru-RU" altLang="zh-CN" sz="1600" b="0" i="0" u="sng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«Обсудим вместе»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, 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позволяющие вести диалог с окружающими: одноклассниками, учителями, родителями  и высказывать свою позицию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914400" algn="l"/>
                <a:tab pos="1038225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задания: 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услышь, сыграй, нарисуй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.</a:t>
            </a:r>
            <a:endParaRPr kumimoji="0" lang="ru-RU" altLang="zh-C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01622" y="288883"/>
            <a:ext cx="1152128" cy="1667584"/>
          </a:xfrm>
          <a:prstGeom prst="rect">
            <a:avLst/>
          </a:prstGeom>
        </p:spPr>
      </p:pic>
      <p:sp>
        <p:nvSpPr>
          <p:cNvPr id="9" name="Пятиугольник 8"/>
          <p:cNvSpPr/>
          <p:nvPr/>
        </p:nvSpPr>
        <p:spPr>
          <a:xfrm>
            <a:off x="190440" y="2114533"/>
            <a:ext cx="2500330" cy="547695"/>
          </a:xfrm>
          <a:prstGeom prst="homePlate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Личностные УУД</a:t>
            </a:r>
          </a:p>
          <a:p>
            <a:pPr algn="ctr"/>
            <a:endParaRPr lang="ru-RU" dirty="0"/>
          </a:p>
        </p:txBody>
      </p:sp>
      <p:sp>
        <p:nvSpPr>
          <p:cNvPr id="10" name="Пятиугольник 9"/>
          <p:cNvSpPr/>
          <p:nvPr/>
        </p:nvSpPr>
        <p:spPr>
          <a:xfrm>
            <a:off x="263467" y="3282949"/>
            <a:ext cx="2462229" cy="428628"/>
          </a:xfrm>
          <a:prstGeom prst="homePlat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Регулятивные УУД</a:t>
            </a:r>
          </a:p>
          <a:p>
            <a:pPr algn="ctr"/>
            <a:endParaRPr lang="ru-RU" dirty="0"/>
          </a:p>
        </p:txBody>
      </p:sp>
      <p:sp>
        <p:nvSpPr>
          <p:cNvPr id="11" name="Пятиугольник 10"/>
          <p:cNvSpPr/>
          <p:nvPr/>
        </p:nvSpPr>
        <p:spPr>
          <a:xfrm>
            <a:off x="153927" y="4086234"/>
            <a:ext cx="2571768" cy="511183"/>
          </a:xfrm>
          <a:prstGeom prst="homePlate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Информационные УУД</a:t>
            </a:r>
          </a:p>
          <a:p>
            <a:pPr algn="ctr"/>
            <a:endParaRPr lang="ru-RU" dirty="0"/>
          </a:p>
        </p:txBody>
      </p:sp>
      <p:sp>
        <p:nvSpPr>
          <p:cNvPr id="12" name="Пятиугольник 11"/>
          <p:cNvSpPr/>
          <p:nvPr/>
        </p:nvSpPr>
        <p:spPr>
          <a:xfrm>
            <a:off x="226954" y="4816495"/>
            <a:ext cx="2482885" cy="401643"/>
          </a:xfrm>
          <a:prstGeom prst="homePlat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  <a:p>
            <a:pPr algn="ctr"/>
            <a:r>
              <a:rPr lang="ru-RU" sz="1700" dirty="0" smtClean="0">
                <a:solidFill>
                  <a:schemeClr val="tx1"/>
                </a:solidFill>
              </a:rPr>
              <a:t>Коммуникативные УУД</a:t>
            </a:r>
          </a:p>
          <a:p>
            <a:pPr algn="ctr"/>
            <a:endParaRPr lang="ru-RU" sz="1700" dirty="0"/>
          </a:p>
        </p:txBody>
      </p:sp>
      <p:sp>
        <p:nvSpPr>
          <p:cNvPr id="13" name="Пятиугольник 12"/>
          <p:cNvSpPr/>
          <p:nvPr/>
        </p:nvSpPr>
        <p:spPr>
          <a:xfrm>
            <a:off x="153927" y="5400702"/>
            <a:ext cx="2500330" cy="511183"/>
          </a:xfrm>
          <a:prstGeom prst="homePlate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Предметные результаты</a:t>
            </a:r>
          </a:p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CustomShape 2"/>
          <p:cNvSpPr/>
          <p:nvPr/>
        </p:nvSpPr>
        <p:spPr>
          <a:xfrm>
            <a:off x="5046669" y="836578"/>
            <a:ext cx="3816424" cy="365130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Особая синкретичная подача материала, где важны и поля и фон и все изобразительные смысловые компоненты и детали.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chemeClr val="tx1"/>
                </a:solidFill>
              </a:rPr>
              <a:t>Разговор о музыке начинается с того, что не видится глазами, но целостный смысл чего необходимо вскрывать: начало творения мира, создание человека с его свойствами постигать этот мир и исследовать самого себя.</a:t>
            </a:r>
          </a:p>
          <a:p>
            <a:pPr algn="ctr">
              <a:lnSpc>
                <a:spcPct val="100000"/>
              </a:lnSpc>
            </a:pPr>
            <a:r>
              <a:rPr lang="ru-RU" sz="1600" dirty="0" smtClean="0">
                <a:solidFill>
                  <a:srgbClr val="FF0000"/>
                </a:solidFill>
              </a:rPr>
              <a:t>Таким образом, музыкальное пространство учебника- монолог-размышление, который диктует свою форму и она должна быть достаточно свободна.</a:t>
            </a:r>
          </a:p>
          <a:p>
            <a:pPr algn="ctr">
              <a:lnSpc>
                <a:spcPct val="100000"/>
              </a:lnSpc>
            </a:pP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683432"/>
          </a:xfrm>
        </p:spPr>
        <p:txBody>
          <a:bodyPr>
            <a:noAutofit/>
          </a:bodyPr>
          <a:lstStyle/>
          <a:p>
            <a:pPr algn="ctr">
              <a:tabLst>
                <a:tab pos="179388" algn="l"/>
              </a:tabLst>
            </a:pP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обенности авторского подхода к содержанию учебник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9" name="Рисунок 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380312" y="4725144"/>
            <a:ext cx="1368152" cy="180020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265747" y="4962547"/>
            <a:ext cx="1728192" cy="8309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 algn="ctr"/>
            <a:r>
              <a:rPr lang="ru-RU" sz="1200" dirty="0" smtClean="0">
                <a:solidFill>
                  <a:prstClr val="black"/>
                </a:solidFill>
              </a:rPr>
              <a:t>НА ПЕРЕКРЕСТКЕ ИСКУССТВ-</a:t>
            </a:r>
          </a:p>
          <a:p>
            <a:pPr lvl="0" algn="ctr"/>
            <a:r>
              <a:rPr lang="ru-RU" sz="1200" dirty="0" smtClean="0">
                <a:solidFill>
                  <a:prstClr val="black"/>
                </a:solidFill>
              </a:rPr>
              <a:t>ХУДОЖЕСТВЕННОЕ ПОЗНАНИЕ МИРА</a:t>
            </a:r>
            <a:endParaRPr lang="ru-RU" sz="1200" dirty="0">
              <a:solidFill>
                <a:prstClr val="black"/>
              </a:solidFill>
            </a:endParaRPr>
          </a:p>
        </p:txBody>
      </p:sp>
      <p:pic>
        <p:nvPicPr>
          <p:cNvPr id="12" name="Picture 1" descr="E:\USERS\TrufanovaSN\Рабочий стол\все документы\вебинары\2015\МУЗЫКА\5 klass\Page_6-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9534" y="1700808"/>
            <a:ext cx="4345555" cy="442811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7" descr="VG_logo3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4" y="6000191"/>
            <a:ext cx="864095" cy="70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7810" name="Picture 2" descr="E:\USERS\TrufanovaSN\Рабочий стол\все документы\вебинары\2015\МУЗЫКА\5 klass\Page_38-3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4" name="Рисунок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4913784"/>
            <a:ext cx="1152128" cy="194421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7" descr="VG_logo3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4" y="6000191"/>
            <a:ext cx="864095" cy="70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8834" name="Picture 2" descr="E:\USERS\TrufanovaSN\Рабочий стол\все документы\вебинары\2015\МУЗЫКА\5 klass\Page_44-4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4" name="Рисунок 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244408" y="5229200"/>
            <a:ext cx="899592" cy="1628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7" descr="VG_logo3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0394" y="6000191"/>
            <a:ext cx="864095" cy="70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9858" name="Picture 2" descr="E:\USERS\TrufanovaSN\Рабочий стол\все документы\вебинары\2015\МУЗЫКА\5 klass\Page_126-12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CustomShape 2"/>
          <p:cNvSpPr/>
          <p:nvPr/>
        </p:nvSpPr>
        <p:spPr>
          <a:xfrm>
            <a:off x="539552" y="3501008"/>
            <a:ext cx="4536504" cy="20882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ctr">
              <a:lnSpc>
                <a:spcPct val="100000"/>
              </a:lnSpc>
            </a:pP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57200" y="116633"/>
            <a:ext cx="8229600" cy="902511"/>
          </a:xfrm>
        </p:spPr>
        <p:txBody>
          <a:bodyPr>
            <a:noAutofit/>
          </a:bodyPr>
          <a:lstStyle/>
          <a:p>
            <a:pPr algn="ctr">
              <a:tabLst>
                <a:tab pos="179388" algn="l"/>
              </a:tabLst>
            </a:pP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обенности авторского подхода к содержанию учебник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7" name="Рисунок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516216" y="1052736"/>
            <a:ext cx="1224136" cy="1656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CustomShape 4"/>
          <p:cNvSpPr/>
          <p:nvPr/>
        </p:nvSpPr>
        <p:spPr>
          <a:xfrm>
            <a:off x="5868144" y="2780928"/>
            <a:ext cx="2556792" cy="64807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100" b="1" dirty="0" smtClean="0">
                <a:solidFill>
                  <a:srgbClr val="002060"/>
                </a:solidFill>
              </a:rPr>
              <a:t>МУЗЫКАЛЬНАЯ КУЛЬТУРА </a:t>
            </a:r>
          </a:p>
          <a:p>
            <a:pPr algn="ctr">
              <a:lnSpc>
                <a:spcPct val="100000"/>
              </a:lnSpc>
            </a:pPr>
            <a:r>
              <a:rPr lang="ru-RU" sz="1100" b="1" dirty="0" smtClean="0">
                <a:solidFill>
                  <a:srgbClr val="002060"/>
                </a:solidFill>
              </a:rPr>
              <a:t>КАК ЧАСТЬ </a:t>
            </a:r>
          </a:p>
          <a:p>
            <a:pPr algn="ctr">
              <a:lnSpc>
                <a:spcPct val="100000"/>
              </a:lnSpc>
            </a:pPr>
            <a:r>
              <a:rPr lang="ru-RU" sz="1100" b="1" dirty="0" smtClean="0">
                <a:solidFill>
                  <a:srgbClr val="002060"/>
                </a:solidFill>
              </a:rPr>
              <a:t>ДУХОВНОЙ КУЛЬТУРЫ ЧЕЛОВЕКА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611560" y="3284984"/>
            <a:ext cx="4680520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endParaRPr kumimoji="0" lang="ru-RU" altLang="zh-CN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 учебнике представлено 6 рубрик: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размышляем об искусстве,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работаем самостоятельно,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анализируем, сравниваем, обобщаем,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обсудим вместе,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услышь, сыграй, нарисуй, запиши!</a:t>
            </a:r>
            <a:endParaRPr kumimoji="0" lang="ru-RU" altLang="zh-CN" sz="9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презентация</a:t>
            </a: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.</a:t>
            </a: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Схема 12"/>
          <p:cNvGraphicFramePr/>
          <p:nvPr/>
        </p:nvGraphicFramePr>
        <p:xfrm>
          <a:off x="251520" y="1052736"/>
          <a:ext cx="5544616" cy="21040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CustomShape 3"/>
          <p:cNvSpPr/>
          <p:nvPr/>
        </p:nvSpPr>
        <p:spPr>
          <a:xfrm>
            <a:off x="5292080" y="3573016"/>
            <a:ext cx="3600400" cy="273630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lvl="0" algn="ctr"/>
            <a:r>
              <a:rPr lang="ru-RU" altLang="zh-CN" sz="1400" b="1" dirty="0" smtClean="0">
                <a:solidFill>
                  <a:schemeClr val="tx1"/>
                </a:solidFill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Выполнение заданий можно считать своеобразной  исследовательской работой в ходе, которой формируются УУД:</a:t>
            </a:r>
          </a:p>
          <a:p>
            <a:pPr algn="ctr">
              <a:lnSpc>
                <a:spcPct val="100000"/>
              </a:lnSpc>
            </a:pPr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Пример задания: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ыберите из множества композиторов, перечисленных на стр.6 учебника, одного из тех, кто еще неизвестен вам и попробуйте самостоятельно познакомиться с его жизненным и творческим путем: почитайте биографию, послушайте наиболее значительные произведения и составьте свое впечатление об этом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5652120" y="2670992"/>
            <a:ext cx="3119100" cy="381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8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56459"/>
          </a:xfrm>
        </p:spPr>
        <p:txBody>
          <a:bodyPr>
            <a:noAutofit/>
          </a:bodyPr>
          <a:lstStyle/>
          <a:p>
            <a:pPr algn="ctr">
              <a:tabLst>
                <a:tab pos="179388" algn="l"/>
              </a:tabLst>
            </a:pPr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обенности авторского подхода к содержанию учебник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5652120" y="2670992"/>
            <a:ext cx="3119100" cy="381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altLang="zh-CN" sz="1400" dirty="0" smtClean="0"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4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SimSun" pitchFamily="2" charset="-122"/>
              <a:cs typeface="Times New Roman" pitchFamily="18" charset="0"/>
            </a:endParaRPr>
          </a:p>
          <a:p>
            <a:pPr marL="0" marR="0" lvl="0" indent="4572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zh-CN" sz="18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Рисунок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39552" y="4221088"/>
            <a:ext cx="1296144" cy="1656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CustomShape 3"/>
          <p:cNvSpPr/>
          <p:nvPr/>
        </p:nvSpPr>
        <p:spPr>
          <a:xfrm>
            <a:off x="251520" y="3284984"/>
            <a:ext cx="2047056" cy="86409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chemeClr val="tx1"/>
                </a:solidFill>
              </a:rPr>
              <a:t>МУЗЫКАЛЬНЫЙ ОБРАЗ </a:t>
            </a:r>
          </a:p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chemeClr val="tx1"/>
                </a:solidFill>
              </a:rPr>
              <a:t>И МУЗЫКАЛЬНАЯ</a:t>
            </a:r>
          </a:p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chemeClr val="tx1"/>
                </a:solidFill>
              </a:rPr>
              <a:t>ДРАМАТУРГИЯ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79201" name="Rectangle 1"/>
          <p:cNvSpPr>
            <a:spLocks noChangeArrowheads="1"/>
          </p:cNvSpPr>
          <p:nvPr/>
        </p:nvSpPr>
        <p:spPr bwMode="auto">
          <a:xfrm>
            <a:off x="323530" y="1089031"/>
            <a:ext cx="3982061" cy="181588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Учебник  содержит 6 разделов: 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По законам жизни. По законам искусства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Два взгляда на мир: Г.Малер, Ф.Й. Гайдн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Композитор и время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Революция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У истоков хора</a:t>
            </a:r>
            <a:endParaRPr kumimoji="0" lang="ru-RU" altLang="zh-CN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q"/>
              <a:tabLst>
                <a:tab pos="457200" algn="l"/>
              </a:tabLst>
            </a:pPr>
            <a:r>
              <a:rPr kumimoji="0" lang="ru-RU" altLang="zh-CN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SimSun" pitchFamily="2" charset="-122"/>
                <a:cs typeface="Times New Roman" pitchFamily="18" charset="0"/>
              </a:rPr>
              <a:t>Биографическая энциклопедия</a:t>
            </a:r>
            <a:endParaRPr kumimoji="0" lang="ru-RU" altLang="zh-CN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Соединительная линия уступом 24"/>
          <p:cNvCxnSpPr/>
          <p:nvPr/>
        </p:nvCxnSpPr>
        <p:spPr>
          <a:xfrm>
            <a:off x="4211960" y="1772817"/>
            <a:ext cx="1017274" cy="305203"/>
          </a:xfrm>
          <a:prstGeom prst="bentConnector3">
            <a:avLst>
              <a:gd name="adj1" fmla="val 50000"/>
            </a:avLst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5156209" y="873090"/>
            <a:ext cx="3736272" cy="320398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Соседство этих двух личностей дает нам толчок  к пониманию того, как может из двух контрастных взглядов, двух мировоззрений  родиться единый восхищенный взгляд на жизнь, мир, и возможность  немного понять и почувствовать духовные миры самих композиторов.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 В такой же логике появляются фигуры:</a:t>
            </a:r>
          </a:p>
          <a:p>
            <a:pPr algn="ctr"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</a:rPr>
              <a:t>И.С. Бах- И.Ф.Стравинский</a:t>
            </a:r>
          </a:p>
          <a:p>
            <a:pPr algn="ctr">
              <a:buFont typeface="Wingdings" pitchFamily="2" charset="2"/>
              <a:buChar char="Ø"/>
            </a:pPr>
            <a:r>
              <a:rPr lang="ru-RU" sz="1600" dirty="0" err="1" smtClean="0">
                <a:solidFill>
                  <a:srgbClr val="002060"/>
                </a:solidFill>
              </a:rPr>
              <a:t>Н.Я.Мясковский</a:t>
            </a:r>
            <a:r>
              <a:rPr lang="ru-RU" sz="1600" dirty="0" smtClean="0">
                <a:solidFill>
                  <a:srgbClr val="002060"/>
                </a:solidFill>
              </a:rPr>
              <a:t> –С.С.Прокофьев </a:t>
            </a:r>
          </a:p>
          <a:p>
            <a:pPr algn="ctr"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</a:rPr>
              <a:t>А.Н.Скрябин - С.С.Рахманинов</a:t>
            </a: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</a:endParaRPr>
          </a:p>
          <a:p>
            <a:pPr algn="ctr"/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33" name="Блок-схема: альтернативный процесс 32"/>
          <p:cNvSpPr/>
          <p:nvPr/>
        </p:nvSpPr>
        <p:spPr>
          <a:xfrm>
            <a:off x="2235168" y="4086234"/>
            <a:ext cx="6336704" cy="2015207"/>
          </a:xfrm>
          <a:prstGeom prst="flowChartAlternateProcess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Страницы учебника помогают постепенно подвести учеников 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 понятию «опера». Главное при этом размышления учеников  с учителем на уроке. 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омпозиция, образ сцены, действия, представленные на страницах учебника- это определенным образом скомпонованный материал.</a:t>
            </a:r>
          </a:p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Последняя глава учебника представлена биографической композицией.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"/>
          <p:cNvSpPr txBox="1">
            <a:spLocks noChangeArrowheads="1"/>
          </p:cNvSpPr>
          <p:nvPr/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2" name="Text Box 2"/>
          <p:cNvSpPr txBox="1">
            <a:spLocks noChangeArrowheads="1"/>
          </p:cNvSpPr>
          <p:nvPr/>
        </p:nvSpPr>
        <p:spPr bwMode="auto">
          <a:xfrm>
            <a:off x="3429000" y="3581401"/>
            <a:ext cx="5257800" cy="25447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3" name="Прямоугольник 4"/>
          <p:cNvSpPr>
            <a:spLocks noChangeArrowheads="1"/>
          </p:cNvSpPr>
          <p:nvPr/>
        </p:nvSpPr>
        <p:spPr bwMode="auto">
          <a:xfrm>
            <a:off x="323528" y="260648"/>
            <a:ext cx="828092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17" name="Picture 9" descr="цветная птица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8028384" y="5877273"/>
            <a:ext cx="899592" cy="76906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  <p:pic>
        <p:nvPicPr>
          <p:cNvPr id="45" name="Picture 2" descr="F:\126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548680"/>
            <a:ext cx="1185295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6" name="Picture 8" descr="http://www.drofa.ru/images/data/cat/_big_1368699357_resize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63688" y="980728"/>
            <a:ext cx="1210254" cy="1944216"/>
          </a:xfrm>
          <a:prstGeom prst="rect">
            <a:avLst/>
          </a:prstGeom>
          <a:noFill/>
        </p:spPr>
      </p:pic>
      <p:sp>
        <p:nvSpPr>
          <p:cNvPr id="23" name="Прямоугольник 22"/>
          <p:cNvSpPr/>
          <p:nvPr/>
        </p:nvSpPr>
        <p:spPr>
          <a:xfrm>
            <a:off x="2235170" y="3282950"/>
            <a:ext cx="3874315" cy="25853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УМК по музыке  включает: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ru-RU" dirty="0" smtClean="0">
                <a:solidFill>
                  <a:srgbClr val="002060"/>
                </a:solidFill>
              </a:rPr>
              <a:t>Рабочие программы (1-4 </a:t>
            </a:r>
            <a:r>
              <a:rPr lang="ru-RU" dirty="0" err="1" smtClean="0">
                <a:solidFill>
                  <a:srgbClr val="002060"/>
                </a:solidFill>
              </a:rPr>
              <a:t>кл</a:t>
            </a:r>
            <a:r>
              <a:rPr lang="ru-RU" dirty="0" smtClean="0">
                <a:solidFill>
                  <a:srgbClr val="002060"/>
                </a:solidFill>
              </a:rPr>
              <a:t>, 5-9 </a:t>
            </a:r>
            <a:r>
              <a:rPr lang="ru-RU" dirty="0" err="1" smtClean="0">
                <a:solidFill>
                  <a:srgbClr val="002060"/>
                </a:solidFill>
              </a:rPr>
              <a:t>кл</a:t>
            </a:r>
            <a:r>
              <a:rPr lang="ru-RU" dirty="0" smtClean="0">
                <a:solidFill>
                  <a:srgbClr val="002060"/>
                </a:solidFill>
              </a:rPr>
              <a:t>)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Учебники с 1-9 класс 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ЭФУ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Рабочие тетради  с 1 по 7  класс 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Методические пособия (с 5 по 9 </a:t>
            </a:r>
            <a:r>
              <a:rPr lang="ru-RU" dirty="0" err="1" smtClean="0">
                <a:solidFill>
                  <a:srgbClr val="002060"/>
                </a:solidFill>
              </a:rPr>
              <a:t>кл</a:t>
            </a:r>
            <a:r>
              <a:rPr lang="ru-RU" dirty="0" smtClean="0">
                <a:solidFill>
                  <a:srgbClr val="002060"/>
                </a:solidFill>
              </a:rPr>
              <a:t>) 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Нотные приложения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Дневник музыкальных наблюдений</a:t>
            </a:r>
          </a:p>
          <a:p>
            <a:r>
              <a:rPr lang="ru-RU" dirty="0" err="1" smtClean="0">
                <a:solidFill>
                  <a:srgbClr val="002060"/>
                </a:solidFill>
              </a:rPr>
              <a:t>Аудиоприложение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2060" name="Picture 12" descr="http://www.drofa.ru/images/data/cat/5829_small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8596" y="2406638"/>
            <a:ext cx="1296144" cy="1872207"/>
          </a:xfrm>
          <a:prstGeom prst="rect">
            <a:avLst/>
          </a:prstGeom>
          <a:noFill/>
        </p:spPr>
      </p:pic>
      <p:pic>
        <p:nvPicPr>
          <p:cNvPr id="61442" name="Picture 2" descr="http://www.drofa.ru/images/data/cat/2210_small.jp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68343" y="260649"/>
            <a:ext cx="1282134" cy="1828075"/>
          </a:xfrm>
          <a:prstGeom prst="rect">
            <a:avLst/>
          </a:prstGeom>
          <a:noFill/>
        </p:spPr>
      </p:pic>
      <p:pic>
        <p:nvPicPr>
          <p:cNvPr id="61444" name="Picture 4" descr="http://www.drofa.ru/images/data/cat/2207_small.jp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14768" y="1128681"/>
            <a:ext cx="1350981" cy="1965931"/>
          </a:xfrm>
          <a:prstGeom prst="rect">
            <a:avLst/>
          </a:prstGeom>
          <a:noFill/>
        </p:spPr>
      </p:pic>
      <p:pic>
        <p:nvPicPr>
          <p:cNvPr id="61446" name="Picture 6" descr="http://www.drofa.ru/images/data/cat/2211_big_1369123256_resize.jp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084168" y="1052736"/>
            <a:ext cx="1277698" cy="1673373"/>
          </a:xfrm>
          <a:prstGeom prst="rect">
            <a:avLst/>
          </a:prstGeom>
          <a:noFill/>
        </p:spPr>
      </p:pic>
      <p:pic>
        <p:nvPicPr>
          <p:cNvPr id="61448" name="Picture 8" descr="http://www.drofa.ru/images/data/cat/4593_small_1344926109.jp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748631" y="2662228"/>
            <a:ext cx="1195074" cy="1719365"/>
          </a:xfrm>
          <a:prstGeom prst="rect">
            <a:avLst/>
          </a:prstGeom>
          <a:noFill/>
        </p:spPr>
      </p:pic>
      <p:pic>
        <p:nvPicPr>
          <p:cNvPr id="61450" name="Picture 10" descr="http://www.drofa.ru/5950_small.jp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762780" y="4633930"/>
            <a:ext cx="1034516" cy="1588484"/>
          </a:xfrm>
          <a:prstGeom prst="rect">
            <a:avLst/>
          </a:prstGeom>
          <a:noFill/>
        </p:spPr>
      </p:pic>
      <p:pic>
        <p:nvPicPr>
          <p:cNvPr id="61452" name="Picture 12" descr="http://www.drofa.ru/images/data/cat/_big_1362568887_resize.jpg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361137" y="2917819"/>
            <a:ext cx="1230682" cy="1746775"/>
          </a:xfrm>
          <a:prstGeom prst="rect">
            <a:avLst/>
          </a:prstGeom>
          <a:noFill/>
        </p:spPr>
      </p:pic>
      <p:pic>
        <p:nvPicPr>
          <p:cNvPr id="30" name="Picture 4" descr="K:\_for all\ИМО\Music\Cover1.gif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09518" y="4341825"/>
            <a:ext cx="1440160" cy="1944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CustomShape 10"/>
          <p:cNvSpPr/>
          <p:nvPr/>
        </p:nvSpPr>
        <p:spPr>
          <a:xfrm>
            <a:off x="1835696" y="260648"/>
            <a:ext cx="5616624" cy="5760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2"/>
            </a:solidFill>
            <a:round/>
          </a:ln>
        </p:spPr>
        <p:txBody>
          <a:bodyPr lIns="90000" tIns="45000" rIns="90000" bIns="45000"/>
          <a:lstStyle/>
          <a:p>
            <a:pPr lvl="0"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УМК  «МУЗЫКА»  </a:t>
            </a:r>
          </a:p>
          <a:p>
            <a:pPr lvl="0" algn="ctr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Авторы: В.В. </a:t>
            </a:r>
            <a:r>
              <a:rPr lang="ru-RU" dirty="0" err="1" smtClean="0">
                <a:solidFill>
                  <a:schemeClr val="tx2">
                    <a:lumMod val="75000"/>
                  </a:schemeClr>
                </a:solidFill>
              </a:rPr>
              <a:t>Алеев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, Т.И. </a:t>
            </a:r>
            <a:r>
              <a:rPr lang="ru-RU" dirty="0" err="1" smtClean="0">
                <a:solidFill>
                  <a:schemeClr val="tx2">
                    <a:lumMod val="75000"/>
                  </a:schemeClr>
                </a:solidFill>
              </a:rPr>
              <a:t>Науменко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, Т.Н. </a:t>
            </a:r>
            <a:r>
              <a:rPr lang="ru-RU" dirty="0" err="1" smtClean="0">
                <a:solidFill>
                  <a:schemeClr val="tx2">
                    <a:lumMod val="75000"/>
                  </a:schemeClr>
                </a:solidFill>
              </a:rPr>
              <a:t>Кичак</a:t>
            </a:r>
            <a:endParaRPr lang="ru-RU" sz="2000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ru-RU" sz="2400" b="1" dirty="0" smtClean="0"/>
              <a:t> </a:t>
            </a:r>
            <a:endParaRPr lang="ru-RU" sz="2400" dirty="0" smtClean="0"/>
          </a:p>
          <a:p>
            <a:pPr algn="ctr">
              <a:lnSpc>
                <a:spcPct val="100000"/>
              </a:lnSpc>
            </a:pPr>
            <a:endParaRPr lang="ru-RU" sz="2400" dirty="0" smtClean="0">
              <a:solidFill>
                <a:srgbClr val="002060"/>
              </a:solidFill>
              <a:latin typeface="Times New Roman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9</a:t>
            </a:fld>
            <a:endParaRPr lang="ru-RU"/>
          </a:p>
        </p:txBody>
      </p:sp>
      <p:pic>
        <p:nvPicPr>
          <p:cNvPr id="3" name="Picture 2" descr="http://www.drofa.ru/images/data/gallery/4_small_130684490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62780" y="800064"/>
            <a:ext cx="1584176" cy="1656184"/>
          </a:xfrm>
          <a:prstGeom prst="rect">
            <a:avLst/>
          </a:prstGeom>
          <a:noFill/>
        </p:spPr>
      </p:pic>
      <p:pic>
        <p:nvPicPr>
          <p:cNvPr id="4" name="Picture 4" descr="http://gum1518.mskobr.ru/images/cms/data/photo_director141232894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45345" y="4451364"/>
            <a:ext cx="1428750" cy="1728192"/>
          </a:xfrm>
          <a:prstGeom prst="rect">
            <a:avLst/>
          </a:prstGeom>
          <a:noFill/>
        </p:spPr>
      </p:pic>
      <p:pic>
        <p:nvPicPr>
          <p:cNvPr id="5" name="Picture 2" descr="http://www.gnesin-academy.ru/sites/default/files/styles/medium/public/Naumenko%20T%2C.jpg?itok=44v90P_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53241" y="2698742"/>
            <a:ext cx="1951484" cy="1400175"/>
          </a:xfrm>
          <a:prstGeom prst="rect">
            <a:avLst/>
          </a:prstGeom>
          <a:noFill/>
        </p:spPr>
      </p:pic>
      <p:sp>
        <p:nvSpPr>
          <p:cNvPr id="6" name="Заголовок 11"/>
          <p:cNvSpPr txBox="1">
            <a:spLocks/>
          </p:cNvSpPr>
          <p:nvPr/>
        </p:nvSpPr>
        <p:spPr>
          <a:xfrm>
            <a:off x="612000" y="188640"/>
            <a:ext cx="7632000" cy="64807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Авторский коллектив линии УМК «Музыка» 1–9 классы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5570" y="982628"/>
            <a:ext cx="5988132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 smtClean="0">
                <a:solidFill>
                  <a:srgbClr val="002060"/>
                </a:solidFill>
              </a:rPr>
              <a:t>Виталий Владимирович </a:t>
            </a:r>
            <a:r>
              <a:rPr lang="ru-RU" b="1" dirty="0" err="1" smtClean="0">
                <a:solidFill>
                  <a:srgbClr val="002060"/>
                </a:solidFill>
              </a:rPr>
              <a:t>Алеев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– </a:t>
            </a:r>
          </a:p>
          <a:p>
            <a:pPr>
              <a:defRPr/>
            </a:pPr>
            <a:r>
              <a:rPr lang="ru-RU" sz="1600" dirty="0" smtClean="0">
                <a:solidFill>
                  <a:srgbClr val="000000"/>
                </a:solidFill>
              </a:rPr>
              <a:t>кандидат искусствоведения, профессор, зав. кафедрой педагогики и методики РАМ им. </a:t>
            </a:r>
            <a:r>
              <a:rPr lang="ru-RU" sz="1600" dirty="0" err="1" smtClean="0">
                <a:solidFill>
                  <a:srgbClr val="000000"/>
                </a:solidFill>
              </a:rPr>
              <a:t>Гнесиных</a:t>
            </a:r>
            <a:endParaRPr lang="ru-RU" sz="1600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ru-RU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ru-RU" b="1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ru-RU" b="1" dirty="0" smtClean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b="1" dirty="0" smtClean="0">
                <a:solidFill>
                  <a:srgbClr val="002060"/>
                </a:solidFill>
              </a:rPr>
              <a:t>Татьяна Ивановна </a:t>
            </a:r>
            <a:r>
              <a:rPr lang="ru-RU" b="1" dirty="0" err="1" smtClean="0">
                <a:solidFill>
                  <a:srgbClr val="002060"/>
                </a:solidFill>
              </a:rPr>
              <a:t>Науменко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dirty="0" smtClean="0">
                <a:solidFill>
                  <a:srgbClr val="000000"/>
                </a:solidFill>
              </a:rPr>
              <a:t>-</a:t>
            </a:r>
          </a:p>
          <a:p>
            <a:pPr>
              <a:defRPr/>
            </a:pPr>
            <a:r>
              <a:rPr lang="ru-RU" sz="1600" dirty="0" smtClean="0">
                <a:solidFill>
                  <a:srgbClr val="000000"/>
                </a:solidFill>
              </a:rPr>
              <a:t>доктор искусствоведения, профессор, зав. кафедрой теории музыки РАМ им. </a:t>
            </a:r>
            <a:r>
              <a:rPr lang="ru-RU" sz="1600" dirty="0" err="1" smtClean="0">
                <a:solidFill>
                  <a:srgbClr val="000000"/>
                </a:solidFill>
              </a:rPr>
              <a:t>Гнесиных</a:t>
            </a:r>
            <a:r>
              <a:rPr lang="ru-RU" sz="1600" dirty="0" smtClean="0">
                <a:solidFill>
                  <a:srgbClr val="000000"/>
                </a:solidFill>
              </a:rPr>
              <a:t>, </a:t>
            </a:r>
          </a:p>
          <a:p>
            <a:pPr>
              <a:defRPr/>
            </a:pPr>
            <a:r>
              <a:rPr lang="ru-RU" sz="1600" dirty="0" smtClean="0">
                <a:solidFill>
                  <a:srgbClr val="000000"/>
                </a:solidFill>
              </a:rPr>
              <a:t>член союза композиторов РФ.</a:t>
            </a:r>
            <a:r>
              <a:rPr lang="ru-RU" sz="1600" b="1" dirty="0" smtClean="0">
                <a:solidFill>
                  <a:srgbClr val="002060"/>
                </a:solidFill>
              </a:rPr>
              <a:t> </a:t>
            </a:r>
          </a:p>
          <a:p>
            <a:pPr>
              <a:defRPr/>
            </a:pPr>
            <a:endParaRPr lang="ru-RU" sz="1600" b="1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ru-RU" sz="1600" b="1" dirty="0" smtClean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</a:rPr>
              <a:t>Татьяна Николаевна </a:t>
            </a:r>
            <a:r>
              <a:rPr lang="ru-RU" sz="1600" b="1" dirty="0" err="1" smtClean="0">
                <a:solidFill>
                  <a:srgbClr val="002060"/>
                </a:solidFill>
              </a:rPr>
              <a:t>Кичак</a:t>
            </a:r>
            <a:r>
              <a:rPr lang="ru-RU" sz="1600" b="1" dirty="0" smtClean="0">
                <a:solidFill>
                  <a:srgbClr val="002060"/>
                </a:solidFill>
              </a:rPr>
              <a:t> </a:t>
            </a:r>
            <a:r>
              <a:rPr lang="ru-RU" sz="1600" b="1" dirty="0" smtClean="0"/>
              <a:t>–</a:t>
            </a:r>
          </a:p>
          <a:p>
            <a:pPr>
              <a:defRPr/>
            </a:pPr>
            <a:r>
              <a:rPr lang="ru-RU" sz="1600" dirty="0" smtClean="0"/>
              <a:t>кандидат педагогических наук, учитель музыки и МХК высшей категории. Почетный работник общего образования РФ. Лауреат конкурса «Грант Москвы» в области наук и технологий в сфере образования 2004 и 2006гг., победитель окружного этапа конкурса «Учитель года Москвы – 2004».</a:t>
            </a:r>
            <a:endParaRPr lang="ru-RU" sz="1600" dirty="0" smtClean="0">
              <a:solidFill>
                <a:srgbClr val="000000"/>
              </a:solidFill>
            </a:endParaRPr>
          </a:p>
          <a:p>
            <a:pPr>
              <a:defRPr/>
            </a:pPr>
            <a:endParaRPr lang="ru-RU" sz="1600" dirty="0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ru-RU" dirty="0" smtClean="0">
                <a:solidFill>
                  <a:srgbClr val="000000"/>
                </a:solidFill>
              </a:rPr>
              <a:t>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0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2" name="CustomShape 3"/>
          <p:cNvSpPr/>
          <p:nvPr/>
        </p:nvSpPr>
        <p:spPr>
          <a:xfrm>
            <a:off x="3200400" y="3962520"/>
            <a:ext cx="2818080" cy="684360"/>
          </a:xfrm>
          <a:prstGeom prst="rect">
            <a:avLst/>
          </a:prstGeom>
        </p:spPr>
      </p:sp>
      <p:sp>
        <p:nvSpPr>
          <p:cNvPr id="250" name="CustomShape 10"/>
          <p:cNvSpPr/>
          <p:nvPr/>
        </p:nvSpPr>
        <p:spPr>
          <a:xfrm>
            <a:off x="2339752" y="188640"/>
            <a:ext cx="5183280" cy="8208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002060"/>
                </a:solidFill>
                <a:latin typeface="Times New Roman"/>
              </a:rPr>
              <a:t>Состав УМК «МУЗЫКА», авторов</a:t>
            </a:r>
          </a:p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002060"/>
                </a:solidFill>
                <a:latin typeface="Times New Roman"/>
              </a:rPr>
              <a:t>В.О. Усачевой, Л.В. Школяр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16" name="Загнутый угол 15"/>
          <p:cNvSpPr/>
          <p:nvPr/>
        </p:nvSpPr>
        <p:spPr>
          <a:xfrm>
            <a:off x="1691680" y="4841777"/>
            <a:ext cx="6120680" cy="960569"/>
          </a:xfrm>
          <a:prstGeom prst="foldedCorner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endParaRPr lang="ru-RU" sz="1600" dirty="0" smtClean="0"/>
          </a:p>
          <a:p>
            <a:pPr lvl="0"/>
            <a:endParaRPr lang="ru-RU" sz="1400" dirty="0" smtClean="0"/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Авторские программы (1-4 класс) и (5-7 класс)</a:t>
            </a:r>
          </a:p>
          <a:p>
            <a:pPr lvl="0"/>
            <a:r>
              <a:rPr lang="ru-RU" sz="1400" dirty="0" smtClean="0"/>
              <a:t>    с приложениями  на </a:t>
            </a:r>
            <a:r>
              <a:rPr lang="en-US" sz="1400" dirty="0" smtClean="0"/>
              <a:t>CD</a:t>
            </a:r>
            <a:endParaRPr lang="ru-RU" sz="1400" dirty="0" smtClean="0"/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Учебники с 1-7 класс  в печатной и электронной форме	</a:t>
            </a:r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Рабочие тетради  с 1 по 6  класс (Записная книжка  юного музыканта) </a:t>
            </a:r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Методическое пособие для учителя (для 1-4 классов  и 5-7 классов)</a:t>
            </a:r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Нотные хрестоматии</a:t>
            </a:r>
          </a:p>
          <a:p>
            <a:pPr lvl="0">
              <a:buFont typeface="Wingdings" pitchFamily="2" charset="2"/>
              <a:buChar char="Ø"/>
            </a:pPr>
            <a:r>
              <a:rPr lang="ru-RU" sz="1400" dirty="0" smtClean="0"/>
              <a:t>Фонохрестоматии (СD диски с репертуаром для каждого класса) </a:t>
            </a:r>
          </a:p>
          <a:p>
            <a:r>
              <a:rPr lang="ru-RU" sz="1400" dirty="0" smtClean="0"/>
              <a:t> </a:t>
            </a:r>
            <a:endParaRPr lang="ru-RU" sz="1400" dirty="0"/>
          </a:p>
        </p:txBody>
      </p:sp>
      <p:pic>
        <p:nvPicPr>
          <p:cNvPr id="17" name="Picture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600298" y="3063871"/>
            <a:ext cx="936104" cy="1368152"/>
          </a:xfrm>
          <a:prstGeom prst="rect">
            <a:avLst/>
          </a:prstGeom>
        </p:spPr>
      </p:pic>
      <p:pic>
        <p:nvPicPr>
          <p:cNvPr id="18" name="Picture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21657" y="2917819"/>
            <a:ext cx="864096" cy="1368152"/>
          </a:xfrm>
          <a:prstGeom prst="rect">
            <a:avLst/>
          </a:prstGeom>
        </p:spPr>
      </p:pic>
      <p:pic>
        <p:nvPicPr>
          <p:cNvPr id="20" name="Рисунок 7" descr="VG_logo3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21657" y="325396"/>
            <a:ext cx="1121040" cy="765621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13" name="Picture 24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90440" y="982629"/>
            <a:ext cx="1224136" cy="1827360"/>
          </a:xfrm>
          <a:prstGeom prst="rect">
            <a:avLst/>
          </a:prstGeom>
        </p:spPr>
      </p:pic>
      <p:pic>
        <p:nvPicPr>
          <p:cNvPr id="14" name="Picture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541421" y="1274733"/>
            <a:ext cx="1008112" cy="1584176"/>
          </a:xfrm>
          <a:prstGeom prst="rect">
            <a:avLst/>
          </a:prstGeom>
        </p:spPr>
      </p:pic>
      <p:pic>
        <p:nvPicPr>
          <p:cNvPr id="21" name="Picture 2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673324" y="1311247"/>
            <a:ext cx="997544" cy="1559480"/>
          </a:xfrm>
          <a:prstGeom prst="rect">
            <a:avLst/>
          </a:prstGeom>
        </p:spPr>
      </p:pic>
      <p:pic>
        <p:nvPicPr>
          <p:cNvPr id="23" name="Picture 2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768714" y="1384272"/>
            <a:ext cx="983848" cy="1508720"/>
          </a:xfrm>
          <a:prstGeom prst="rect">
            <a:avLst/>
          </a:prstGeom>
        </p:spPr>
      </p:pic>
      <p:pic>
        <p:nvPicPr>
          <p:cNvPr id="24" name="Picture 1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5119696" y="1238221"/>
            <a:ext cx="1042589" cy="1606572"/>
          </a:xfrm>
          <a:prstGeom prst="rect">
            <a:avLst/>
          </a:prstGeom>
        </p:spPr>
      </p:pic>
      <p:pic>
        <p:nvPicPr>
          <p:cNvPr id="25" name="Picture 1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6434163" y="1238221"/>
            <a:ext cx="1007094" cy="1570059"/>
          </a:xfrm>
          <a:prstGeom prst="rect">
            <a:avLst/>
          </a:prstGeom>
        </p:spPr>
      </p:pic>
      <p:pic>
        <p:nvPicPr>
          <p:cNvPr id="26" name="Picture 16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7712119" y="1201709"/>
            <a:ext cx="1043607" cy="1497033"/>
          </a:xfrm>
          <a:prstGeom prst="rect">
            <a:avLst/>
          </a:prstGeom>
        </p:spPr>
      </p:pic>
      <p:pic>
        <p:nvPicPr>
          <p:cNvPr id="30" name="Picture 17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36493" y="4926033"/>
            <a:ext cx="985851" cy="912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5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3659175" y="3173409"/>
            <a:ext cx="1368152" cy="1080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10" descr="http://www.vgf.ru/Portals/0/Images/Proekty/2729_200.gif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90440" y="3027357"/>
            <a:ext cx="1008112" cy="1440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Picture 16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431882" y="3027357"/>
            <a:ext cx="936104" cy="1296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https://www.vgf.ru/Portals/0/Images/Proekty/3790_200.gif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931196" y="4560903"/>
            <a:ext cx="864096" cy="1368152"/>
          </a:xfrm>
          <a:prstGeom prst="rect">
            <a:avLst/>
          </a:prstGeom>
          <a:noFill/>
        </p:spPr>
      </p:pic>
      <p:pic>
        <p:nvPicPr>
          <p:cNvPr id="1028" name="Picture 4" descr="https://www.vgf.ru/Portals/0/Images/Proekty/2527_200.gif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265747" y="2954331"/>
            <a:ext cx="864096" cy="1333949"/>
          </a:xfrm>
          <a:prstGeom prst="rect">
            <a:avLst/>
          </a:prstGeom>
          <a:noFill/>
        </p:spPr>
      </p:pic>
      <p:pic>
        <p:nvPicPr>
          <p:cNvPr id="1030" name="Picture 6" descr="https://www.vgf.ru/Portals/0/Images/Proekty/287_200.gif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543702" y="2917819"/>
            <a:ext cx="863088" cy="1296143"/>
          </a:xfrm>
          <a:prstGeom prst="rect">
            <a:avLst/>
          </a:prstGeom>
          <a:noFill/>
        </p:spPr>
      </p:pic>
      <p:pic>
        <p:nvPicPr>
          <p:cNvPr id="28" name="Рисунок 140"/>
          <p:cNvPicPr/>
          <p:nvPr/>
        </p:nvPicPr>
        <p:blipFill>
          <a:blip r:embed="rId19" cstate="print">
            <a:lum bright="-10000" contrast="20000"/>
          </a:blip>
          <a:stretch>
            <a:fillRect/>
          </a:stretch>
        </p:blipFill>
        <p:spPr>
          <a:xfrm>
            <a:off x="107504" y="188640"/>
            <a:ext cx="2123728" cy="764704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0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2" name="CustomShape 3"/>
          <p:cNvSpPr/>
          <p:nvPr/>
        </p:nvSpPr>
        <p:spPr>
          <a:xfrm>
            <a:off x="3200400" y="3962520"/>
            <a:ext cx="2818080" cy="684360"/>
          </a:xfrm>
          <a:prstGeom prst="rect">
            <a:avLst/>
          </a:prstGeom>
        </p:spPr>
      </p:sp>
      <p:sp>
        <p:nvSpPr>
          <p:cNvPr id="248" name="CustomShape 8"/>
          <p:cNvSpPr/>
          <p:nvPr/>
        </p:nvSpPr>
        <p:spPr>
          <a:xfrm>
            <a:off x="2016090" y="946116"/>
            <a:ext cx="6552728" cy="2088232"/>
          </a:xfrm>
          <a:prstGeom prst="verticalScroll">
            <a:avLst>
              <a:gd name="adj" fmla="val 12500"/>
            </a:avLst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ru-RU" sz="1400" dirty="0" smtClean="0"/>
              <a:t>Программа опирается на позитивные традиции в области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/>
              <a:t>музыкально-эстетического развития школьников,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/>
              <a:t>сложившиеся в отечественной педагогике.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+mj-lt"/>
                <a:cs typeface="Times New Roman" pitchFamily="18" charset="0"/>
              </a:rPr>
              <a:t>В основу УМК положена  единая концепция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+mj-lt"/>
                <a:cs typeface="Times New Roman" pitchFamily="18" charset="0"/>
              </a:rPr>
              <a:t>музыкально-эстетического воспитания школьников.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+mj-lt"/>
                <a:cs typeface="Times New Roman" pitchFamily="18" charset="0"/>
              </a:rPr>
              <a:t>Данный курс отличает широкая интегративная основа,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+mj-lt"/>
                <a:cs typeface="Times New Roman" pitchFamily="18" charset="0"/>
              </a:rPr>
              <a:t> патриотическая направленность, </a:t>
            </a:r>
          </a:p>
          <a:p>
            <a:pPr algn="ctr">
              <a:lnSpc>
                <a:spcPct val="100000"/>
              </a:lnSpc>
            </a:pPr>
            <a:r>
              <a:rPr lang="ru-RU" sz="1400" dirty="0" smtClean="0">
                <a:latin typeface="+mj-lt"/>
                <a:cs typeface="Times New Roman" pitchFamily="18" charset="0"/>
              </a:rPr>
              <a:t>учет возрастных особенностей ученик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 </a:t>
            </a:r>
            <a:endParaRPr sz="1600" dirty="0"/>
          </a:p>
        </p:txBody>
      </p:sp>
      <p:sp>
        <p:nvSpPr>
          <p:cNvPr id="250" name="CustomShape 10"/>
          <p:cNvSpPr/>
          <p:nvPr/>
        </p:nvSpPr>
        <p:spPr>
          <a:xfrm>
            <a:off x="1619672" y="188640"/>
            <a:ext cx="7056784" cy="7200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60">
            <a:solidFill>
              <a:srgbClr val="FFFFFF"/>
            </a:solidFill>
            <a:round/>
          </a:ln>
        </p:spPr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dirty="0">
                <a:solidFill>
                  <a:srgbClr val="002060"/>
                </a:solidFill>
                <a:latin typeface="Times New Roman"/>
              </a:rPr>
              <a:t>Авторский подход к методике</a:t>
            </a:r>
            <a:endParaRPr sz="1400"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ru-RU" dirty="0">
                <a:solidFill>
                  <a:srgbClr val="002060"/>
                </a:solidFill>
                <a:latin typeface="Times New Roman"/>
              </a:rPr>
              <a:t> музыкального 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образования В.В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Алеева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, Т.И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Науменко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, Т.Н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Кичак</a:t>
            </a:r>
            <a:endParaRPr sz="1400" dirty="0">
              <a:solidFill>
                <a:srgbClr val="002060"/>
              </a:solidFill>
            </a:endParaRPr>
          </a:p>
        </p:txBody>
      </p:sp>
      <p:sp>
        <p:nvSpPr>
          <p:cNvPr id="16" name="Загнутый угол 15"/>
          <p:cNvSpPr/>
          <p:nvPr/>
        </p:nvSpPr>
        <p:spPr>
          <a:xfrm>
            <a:off x="1727176" y="3319461"/>
            <a:ext cx="7007306" cy="2952328"/>
          </a:xfrm>
          <a:prstGeom prst="foldedCorner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400" dirty="0" smtClean="0"/>
          </a:p>
          <a:p>
            <a:endParaRPr lang="ru-RU" sz="1400" dirty="0" smtClean="0"/>
          </a:p>
          <a:p>
            <a:r>
              <a:rPr lang="ru-RU" sz="1400" b="1" dirty="0" smtClean="0"/>
              <a:t>Отличительные особенности программы: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взгляд на музыку не только с точки зрения ее эстетической ценности, но и с позиции ее универсального значения в мире, когда музыка раскрывается во всем богатстве своих граней, врастающих в различные сферы бытия, —природу, обычаи, верования, человеческие отношения, фантазии, чувства;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системное погружении в проблематику музыкального содержания;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рассмотрение музыкального искусства с точки зрения стилевого подхода, применяемого с учетом научных достижений в области эстетики, литературоведения,  музыкознания;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углубление идеи музыкального образования при помощи учебника (≪Книга открывает мир≫);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/>
              <a:t> обновленный музыкальный  материал, а также введение параллельного и методически целесообразного литературного и изобразительного рядов.</a:t>
            </a:r>
            <a:endParaRPr lang="ru-RU" sz="1400" dirty="0"/>
          </a:p>
        </p:txBody>
      </p:sp>
      <p:pic>
        <p:nvPicPr>
          <p:cNvPr id="13" name="Picture 22" descr="http://www.drofa.ru/images/data/cat/2208_small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30" y="1340768"/>
            <a:ext cx="1224135" cy="1587427"/>
          </a:xfrm>
          <a:prstGeom prst="rect">
            <a:avLst/>
          </a:prstGeom>
          <a:noFill/>
        </p:spPr>
      </p:pic>
      <p:pic>
        <p:nvPicPr>
          <p:cNvPr id="14" name="Picture 8" descr="http://www.drofa.ru/images/data/cat/_big_1368699357_resize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068960"/>
            <a:ext cx="1008112" cy="1368152"/>
          </a:xfrm>
          <a:prstGeom prst="rect">
            <a:avLst/>
          </a:prstGeom>
          <a:noFill/>
        </p:spPr>
      </p:pic>
      <p:pic>
        <p:nvPicPr>
          <p:cNvPr id="21" name="Picture 12" descr="http://www.drofa.ru/images/data/cat/5829_small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4653136"/>
            <a:ext cx="1146590" cy="1656184"/>
          </a:xfrm>
          <a:prstGeom prst="rect">
            <a:avLst/>
          </a:prstGeom>
          <a:noFill/>
        </p:spPr>
      </p:pic>
      <p:pic>
        <p:nvPicPr>
          <p:cNvPr id="22" name="Picture 9" descr="цветная птица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251520" y="188641"/>
            <a:ext cx="899592" cy="76906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0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2" name="CustomShape 3"/>
          <p:cNvSpPr/>
          <p:nvPr/>
        </p:nvSpPr>
        <p:spPr>
          <a:xfrm>
            <a:off x="3200400" y="3962520"/>
            <a:ext cx="2818080" cy="684360"/>
          </a:xfrm>
          <a:prstGeom prst="rect">
            <a:avLst/>
          </a:prstGeom>
        </p:spPr>
      </p:sp>
      <p:sp>
        <p:nvSpPr>
          <p:cNvPr id="248" name="CustomShape 8"/>
          <p:cNvSpPr/>
          <p:nvPr/>
        </p:nvSpPr>
        <p:spPr>
          <a:xfrm>
            <a:off x="1504910" y="3903669"/>
            <a:ext cx="7120035" cy="2369647"/>
          </a:xfrm>
          <a:prstGeom prst="verticalScroll">
            <a:avLst>
              <a:gd name="adj" fmla="val 12500"/>
            </a:avLst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3333CC"/>
                </a:solidFill>
                <a:latin typeface="Times New Roman" pitchFamily="18" charset="0"/>
                <a:cs typeface="Times New Roman" pitchFamily="18" charset="0"/>
              </a:rPr>
              <a:t>   </a:t>
            </a:r>
          </a:p>
          <a:p>
            <a:pPr>
              <a:lnSpc>
                <a:spcPct val="100000"/>
              </a:lnSpc>
            </a:pP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грамма нацелена на углубление идеи взаимодействий  музыки с 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жизнью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иродой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сихологией музыкального восприятия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зобразительным искусством,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итературой и  русским языком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сторией </a:t>
            </a:r>
          </a:p>
          <a:p>
            <a:pPr>
              <a:lnSpc>
                <a:spcPct val="100000"/>
              </a:lnSpc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ХК.</a:t>
            </a:r>
            <a:endParaRPr lang="ru-RU" sz="16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endParaRPr lang="ru-RU" sz="1400" dirty="0" smtClean="0"/>
          </a:p>
          <a:p>
            <a:pPr algn="ctr">
              <a:lnSpc>
                <a:spcPct val="100000"/>
              </a:lnSpc>
            </a:pPr>
            <a:endParaRPr dirty="0"/>
          </a:p>
        </p:txBody>
      </p:sp>
      <p:sp>
        <p:nvSpPr>
          <p:cNvPr id="15" name="Выноска со стрелкой вниз 14"/>
          <p:cNvSpPr/>
          <p:nvPr/>
        </p:nvSpPr>
        <p:spPr>
          <a:xfrm>
            <a:off x="2490759" y="1165195"/>
            <a:ext cx="5228350" cy="1209884"/>
          </a:xfrm>
          <a:prstGeom prst="downArrowCallou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+mj-lt"/>
              </a:rPr>
              <a:t>Основная методологическая характеристика программы-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</a:rPr>
              <a:t>комплексност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6" name="Загнутый угол 15"/>
          <p:cNvSpPr/>
          <p:nvPr/>
        </p:nvSpPr>
        <p:spPr>
          <a:xfrm>
            <a:off x="2527272" y="2333611"/>
            <a:ext cx="5256584" cy="1368152"/>
          </a:xfrm>
          <a:prstGeom prst="foldedCorner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2000" b="1" dirty="0" smtClean="0"/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FF0000"/>
                </a:solidFill>
              </a:rPr>
              <a:t>Метод междисциплинарных взаимодействий</a:t>
            </a:r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FF0000"/>
                </a:solidFill>
              </a:rPr>
              <a:t>Стилевой подход</a:t>
            </a:r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FF0000"/>
                </a:solidFill>
              </a:rPr>
              <a:t>Системный подход </a:t>
            </a:r>
          </a:p>
          <a:p>
            <a:pPr>
              <a:buFont typeface="Wingdings" pitchFamily="2" charset="2"/>
              <a:buChar char="Ø"/>
            </a:pPr>
            <a:r>
              <a:rPr lang="ru-RU" sz="1600" b="1" dirty="0" smtClean="0">
                <a:solidFill>
                  <a:srgbClr val="FF0000"/>
                </a:solidFill>
              </a:rPr>
              <a:t>Метод проблемного обучения</a:t>
            </a:r>
            <a:endParaRPr lang="ru-RU" sz="1400" dirty="0">
              <a:solidFill>
                <a:srgbClr val="FF0000"/>
              </a:solidFill>
            </a:endParaRPr>
          </a:p>
        </p:txBody>
      </p:sp>
      <p:pic>
        <p:nvPicPr>
          <p:cNvPr id="21" name="Picture 4" descr="http://www.drofa.ru/images/data/cat/2207_small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5572" y="1165195"/>
            <a:ext cx="1344149" cy="2016224"/>
          </a:xfrm>
          <a:prstGeom prst="rect">
            <a:avLst/>
          </a:prstGeom>
          <a:noFill/>
        </p:spPr>
      </p:pic>
      <p:sp>
        <p:nvSpPr>
          <p:cNvPr id="22" name="CustomShape 10"/>
          <p:cNvSpPr/>
          <p:nvPr/>
        </p:nvSpPr>
        <p:spPr>
          <a:xfrm>
            <a:off x="1619672" y="288882"/>
            <a:ext cx="7056784" cy="619839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dirty="0">
                <a:solidFill>
                  <a:srgbClr val="002060"/>
                </a:solidFill>
                <a:latin typeface="Times New Roman"/>
              </a:rPr>
              <a:t>Авторский подход к методике</a:t>
            </a:r>
            <a:endParaRPr sz="1400"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ru-RU" dirty="0">
                <a:solidFill>
                  <a:srgbClr val="002060"/>
                </a:solidFill>
                <a:latin typeface="Times New Roman"/>
              </a:rPr>
              <a:t> музыкального 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образования В.В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Алеева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, Т.И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Науменко</a:t>
            </a:r>
            <a:r>
              <a:rPr lang="ru-RU" dirty="0" smtClean="0">
                <a:solidFill>
                  <a:srgbClr val="002060"/>
                </a:solidFill>
                <a:latin typeface="Times New Roman"/>
              </a:rPr>
              <a:t>, Т.Н. </a:t>
            </a:r>
            <a:r>
              <a:rPr lang="ru-RU" dirty="0" err="1" smtClean="0">
                <a:solidFill>
                  <a:srgbClr val="002060"/>
                </a:solidFill>
                <a:latin typeface="Times New Roman"/>
              </a:rPr>
              <a:t>Кичак</a:t>
            </a:r>
            <a:endParaRPr sz="1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"/>
          <p:cNvSpPr txBox="1">
            <a:spLocks noChangeArrowheads="1"/>
          </p:cNvSpPr>
          <p:nvPr/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2" name="Text Box 2"/>
          <p:cNvSpPr txBox="1">
            <a:spLocks noChangeArrowheads="1"/>
          </p:cNvSpPr>
          <p:nvPr/>
        </p:nvSpPr>
        <p:spPr bwMode="auto">
          <a:xfrm>
            <a:off x="1979712" y="3573017"/>
            <a:ext cx="6697960" cy="25447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1691680" y="1109955"/>
            <a:ext cx="7128792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                                           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9" descr="цветная птица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214282" y="5857893"/>
            <a:ext cx="899592" cy="76906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  <p:sp>
        <p:nvSpPr>
          <p:cNvPr id="12" name="Прямоугольник 4"/>
          <p:cNvSpPr>
            <a:spLocks noChangeArrowheads="1"/>
          </p:cNvSpPr>
          <p:nvPr/>
        </p:nvSpPr>
        <p:spPr bwMode="auto">
          <a:xfrm>
            <a:off x="1571604" y="285728"/>
            <a:ext cx="604867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dirty="0" smtClean="0">
                <a:solidFill>
                  <a:srgbClr val="002060"/>
                </a:solidFill>
              </a:rPr>
              <a:t>ОСОБЕННОСТИ  ЛИНИИ ДЛЯ НАЧАЛЬНОЙ ШКОЛЫ </a:t>
            </a:r>
            <a:endParaRPr lang="ru-RU" dirty="0">
              <a:solidFill>
                <a:srgbClr val="002060"/>
              </a:solidFill>
            </a:endParaRPr>
          </a:p>
        </p:txBody>
      </p:sp>
      <p:graphicFrame>
        <p:nvGraphicFramePr>
          <p:cNvPr id="13" name="Схема 12"/>
          <p:cNvGraphicFramePr/>
          <p:nvPr/>
        </p:nvGraphicFramePr>
        <p:xfrm>
          <a:off x="285720" y="1019143"/>
          <a:ext cx="8572560" cy="5624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4" name="Picture 4" descr="http://www.drofa.ru/images/data/cat/2207_small.jp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00034" y="1142984"/>
            <a:ext cx="1214446" cy="1821669"/>
          </a:xfrm>
          <a:prstGeom prst="rect">
            <a:avLst/>
          </a:prstGeom>
          <a:noFill/>
        </p:spPr>
      </p:pic>
      <p:cxnSp>
        <p:nvCxnSpPr>
          <p:cNvPr id="16" name="Прямая со стрелкой 15"/>
          <p:cNvCxnSpPr/>
          <p:nvPr/>
        </p:nvCxnSpPr>
        <p:spPr>
          <a:xfrm>
            <a:off x="4929190" y="3786191"/>
            <a:ext cx="1643074" cy="1588"/>
          </a:xfrm>
          <a:prstGeom prst="straightConnector1">
            <a:avLst/>
          </a:prstGeom>
          <a:ln w="158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ый прямоугольник 17"/>
          <p:cNvSpPr/>
          <p:nvPr/>
        </p:nvSpPr>
        <p:spPr>
          <a:xfrm>
            <a:off x="4714876" y="2285992"/>
            <a:ext cx="2214578" cy="85725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Концептуальный уровень – отражен  в названиях тем каждого года обуче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643438" y="4071942"/>
            <a:ext cx="2143140" cy="92869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ереходный уровень –тематические блоки (прохождение тем  последовательно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 в системе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714876" y="5786454"/>
            <a:ext cx="2071702" cy="64294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рактический уровень отражен в поурочном планировании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"/>
          <p:cNvSpPr txBox="1">
            <a:spLocks noChangeArrowheads="1"/>
          </p:cNvSpPr>
          <p:nvPr/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2" name="Text Box 2"/>
          <p:cNvSpPr txBox="1">
            <a:spLocks noChangeArrowheads="1"/>
          </p:cNvSpPr>
          <p:nvPr/>
        </p:nvSpPr>
        <p:spPr bwMode="auto">
          <a:xfrm>
            <a:off x="1979712" y="3573017"/>
            <a:ext cx="6697960" cy="25447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3" name="Прямоугольник 4"/>
          <p:cNvSpPr>
            <a:spLocks noChangeArrowheads="1"/>
          </p:cNvSpPr>
          <p:nvPr/>
        </p:nvSpPr>
        <p:spPr bwMode="auto">
          <a:xfrm>
            <a:off x="1475656" y="188640"/>
            <a:ext cx="604867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dirty="0" smtClean="0">
                <a:solidFill>
                  <a:srgbClr val="002060"/>
                </a:solidFill>
              </a:rPr>
              <a:t>ОСОБЕННОСТИ  ЛИНИИ ДЛЯ НАЧАЛЬНОЙ ШКОЛЫ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1691680" y="1109955"/>
            <a:ext cx="7128792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                                           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ustomShape 2"/>
          <p:cNvSpPr/>
          <p:nvPr/>
        </p:nvSpPr>
        <p:spPr>
          <a:xfrm>
            <a:off x="179512" y="3068960"/>
            <a:ext cx="2088232" cy="201622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«Музыка, музыка всюду нам слышна...».</a:t>
            </a:r>
          </a:p>
          <a:p>
            <a:pPr algn="ctr">
              <a:tabLst>
                <a:tab pos="357188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Ученики получают представление </a:t>
            </a:r>
            <a:r>
              <a:rPr lang="ru-RU" sz="1200" dirty="0" smtClean="0"/>
              <a:t>о связи музыки с природой,</a:t>
            </a:r>
          </a:p>
          <a:p>
            <a:pPr algn="ctr">
              <a:tabLst>
                <a:tab pos="357188" algn="l"/>
              </a:tabLst>
            </a:pPr>
            <a:r>
              <a:rPr lang="ru-RU" sz="1200" dirty="0" smtClean="0"/>
              <a:t>обычаями, праздниками,</a:t>
            </a:r>
          </a:p>
          <a:p>
            <a:pPr algn="ctr">
              <a:tabLst>
                <a:tab pos="357188" algn="l"/>
              </a:tabLst>
            </a:pPr>
            <a:r>
              <a:rPr lang="ru-RU" sz="1200" dirty="0" smtClean="0"/>
              <a:t>человеческими фантазиями, чувствам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CustomShape 4"/>
          <p:cNvSpPr/>
          <p:nvPr/>
        </p:nvSpPr>
        <p:spPr>
          <a:xfrm>
            <a:off x="2339752" y="3068960"/>
            <a:ext cx="2304256" cy="187220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«Музыкальная прогулка»</a:t>
            </a:r>
          </a:p>
          <a:p>
            <a:r>
              <a:rPr lang="ru-RU" sz="1200" dirty="0" smtClean="0"/>
              <a:t>проводятся параллели с живописью и поэзией, дается информация</a:t>
            </a:r>
          </a:p>
          <a:p>
            <a:r>
              <a:rPr lang="ru-RU" sz="1200" dirty="0" smtClean="0"/>
              <a:t>о музыкально-театральных</a:t>
            </a:r>
          </a:p>
          <a:p>
            <a:r>
              <a:rPr lang="ru-RU" sz="1200" dirty="0" smtClean="0"/>
              <a:t>жанрах, инструментах, основах нотной грамот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5" name="CustomShape 3"/>
          <p:cNvSpPr/>
          <p:nvPr/>
        </p:nvSpPr>
        <p:spPr>
          <a:xfrm>
            <a:off x="4788024" y="3068960"/>
            <a:ext cx="2016224" cy="19442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/>
            <a:endParaRPr lang="ru-RU" sz="1600" dirty="0" smtClean="0"/>
          </a:p>
          <a:p>
            <a:pPr algn="ctr"/>
            <a:r>
              <a:rPr lang="ru-RU" sz="1600" dirty="0" smtClean="0"/>
              <a:t>«О чем рассказывает музыка»</a:t>
            </a:r>
          </a:p>
          <a:p>
            <a:pPr algn="ctr"/>
            <a:r>
              <a:rPr lang="ru-RU" sz="1600" dirty="0" smtClean="0"/>
              <a:t> </a:t>
            </a:r>
            <a:r>
              <a:rPr lang="ru-RU" sz="1200" dirty="0" smtClean="0"/>
              <a:t>акцент сделан на исторической и патриотической темах </a:t>
            </a:r>
          </a:p>
          <a:p>
            <a:pPr algn="ctr"/>
            <a:r>
              <a:rPr lang="ru-RU" sz="1200" dirty="0" smtClean="0"/>
              <a:t>в произведениях композиторов, на</a:t>
            </a:r>
          </a:p>
          <a:p>
            <a:pPr algn="ctr"/>
            <a:r>
              <a:rPr lang="ru-RU" sz="1200" dirty="0" smtClean="0"/>
              <a:t>духовной музыке</a:t>
            </a:r>
          </a:p>
          <a:p>
            <a:pPr algn="ctr">
              <a:lnSpc>
                <a:spcPct val="100000"/>
              </a:lnSpc>
            </a:pP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CustomShape 3"/>
          <p:cNvSpPr/>
          <p:nvPr/>
        </p:nvSpPr>
        <p:spPr>
          <a:xfrm>
            <a:off x="6876256" y="3356992"/>
            <a:ext cx="2016224" cy="1512168"/>
          </a:xfrm>
          <a:prstGeom prst="rect">
            <a:avLst/>
          </a:prstGeom>
          <a:solidFill>
            <a:srgbClr val="99CCFF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r>
              <a:rPr lang="ru-RU" sz="1600" dirty="0" smtClean="0"/>
              <a:t>«Музыкальное путешествие»</a:t>
            </a:r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20" name="Picture 22" descr="http://www.drofa.ru/images/data/cat/2208_small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980729"/>
            <a:ext cx="1502348" cy="1948207"/>
          </a:xfrm>
          <a:prstGeom prst="rect">
            <a:avLst/>
          </a:prstGeom>
          <a:noFill/>
        </p:spPr>
      </p:pic>
      <p:pic>
        <p:nvPicPr>
          <p:cNvPr id="25" name="Picture 2" descr="F:\126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99794" y="980730"/>
            <a:ext cx="1321475" cy="1948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18" descr="http://www.drofa.ru/images/data/cat/2217_big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57752" y="1000109"/>
            <a:ext cx="1499058" cy="1944723"/>
          </a:xfrm>
          <a:prstGeom prst="rect">
            <a:avLst/>
          </a:prstGeom>
          <a:noFill/>
        </p:spPr>
      </p:pic>
      <p:pic>
        <p:nvPicPr>
          <p:cNvPr id="27" name="Picture 20" descr="http://www.drofa.ru/images/data/cat/2222_small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20272" y="980729"/>
            <a:ext cx="1766570" cy="2290843"/>
          </a:xfrm>
          <a:prstGeom prst="rect">
            <a:avLst/>
          </a:prstGeom>
          <a:noFill/>
        </p:spPr>
      </p:pic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6876256" y="3861051"/>
            <a:ext cx="226774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GaramondBookC" charset="-52"/>
              </a:rPr>
              <a:t>происходит знакомство с музыкальной культурой России,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GaramondBookC" charset="-52"/>
              </a:rPr>
              <a:t>стран ближнего и дальнего</a:t>
            </a:r>
            <a:r>
              <a:rPr lang="ru-RU" sz="700" dirty="0" smtClean="0"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GaramondBookC" charset="-52"/>
              </a:rPr>
              <a:t>зарубежья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5841" name="Picture 1"/>
          <p:cNvPicPr>
            <a:picLocks noChangeAspect="1" noChangeArrowheads="1"/>
          </p:cNvPicPr>
          <p:nvPr/>
        </p:nvPicPr>
        <p:blipFill>
          <a:blip r:embed="rId9"/>
          <a:srcRect l="33281" t="19167" r="51719" b="49196"/>
          <a:stretch>
            <a:fillRect/>
          </a:stretch>
        </p:blipFill>
        <p:spPr bwMode="auto">
          <a:xfrm>
            <a:off x="5286380" y="4929174"/>
            <a:ext cx="1505425" cy="1785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842" name="Picture 2" descr="C:\Users\fedotova.kn\AppData\Local\Microsoft\Windows\Temporary Internet Files\Content.IE5\CXX7NKEC\CD_autolev_crop[1]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15140" y="5929330"/>
            <a:ext cx="785794" cy="785794"/>
          </a:xfrm>
          <a:prstGeom prst="rect">
            <a:avLst/>
          </a:prstGeom>
          <a:noFill/>
        </p:spPr>
      </p:pic>
      <p:pic>
        <p:nvPicPr>
          <p:cNvPr id="18" name="Picture 2" descr="C:\Users\fedotova.kn\AppData\Local\Microsoft\Windows\Temporary Internet Files\Content.IE5\CXX7NKEC\CD_autolev_crop[1]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43042" y="5000636"/>
            <a:ext cx="785794" cy="785794"/>
          </a:xfrm>
          <a:prstGeom prst="rect">
            <a:avLst/>
          </a:prstGeom>
          <a:noFill/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"/>
          <p:cNvSpPr txBox="1">
            <a:spLocks noChangeArrowheads="1"/>
          </p:cNvSpPr>
          <p:nvPr/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2" name="Text Box 2"/>
          <p:cNvSpPr txBox="1">
            <a:spLocks noChangeArrowheads="1"/>
          </p:cNvSpPr>
          <p:nvPr/>
        </p:nvSpPr>
        <p:spPr bwMode="auto">
          <a:xfrm>
            <a:off x="1979712" y="3573017"/>
            <a:ext cx="6697960" cy="25447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3" name="Прямоугольник 4"/>
          <p:cNvSpPr>
            <a:spLocks noChangeArrowheads="1"/>
          </p:cNvSpPr>
          <p:nvPr/>
        </p:nvSpPr>
        <p:spPr bwMode="auto">
          <a:xfrm>
            <a:off x="1979712" y="404664"/>
            <a:ext cx="4464496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dirty="0" smtClean="0">
                <a:solidFill>
                  <a:srgbClr val="002060"/>
                </a:solidFill>
              </a:rPr>
              <a:t>ОСОБЕННОСТИ  ЛИНИИ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1691680" y="1109955"/>
            <a:ext cx="7128792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                                           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Picture 12" descr="http://www.drofa.ru/images/data/cat/5829_small.jp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08304" y="2780929"/>
            <a:ext cx="1512168" cy="218424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3" name="Picture 9" descr="цветная птица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395536" y="5661249"/>
            <a:ext cx="899592" cy="76906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  <p:sp>
        <p:nvSpPr>
          <p:cNvPr id="13" name="CustomShape 2"/>
          <p:cNvSpPr/>
          <p:nvPr/>
        </p:nvSpPr>
        <p:spPr>
          <a:xfrm>
            <a:off x="107504" y="3429000"/>
            <a:ext cx="1944216" cy="79208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Музыка и другие виды искусства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4" name="CustomShape 4"/>
          <p:cNvSpPr/>
          <p:nvPr/>
        </p:nvSpPr>
        <p:spPr>
          <a:xfrm>
            <a:off x="2051720" y="3789040"/>
            <a:ext cx="1656184" cy="72008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В чем сила музыки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5" name="CustomShape 3"/>
          <p:cNvSpPr/>
          <p:nvPr/>
        </p:nvSpPr>
        <p:spPr>
          <a:xfrm>
            <a:off x="3707904" y="4077072"/>
            <a:ext cx="1728192" cy="79208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Содержание и форма в музыке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16" name="Picture 10" descr="http://www.drofa.ru/images/data/cat/_big_1377500703_resize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23728" y="1412777"/>
            <a:ext cx="1512168" cy="2311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7" name="Picture 16" descr="http://www.drofa.ru/5695_small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851920" y="1772817"/>
            <a:ext cx="1512168" cy="22860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8" name="Picture 14" descr="http://www.drofa.ru/5721_small.jp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580112" y="2348881"/>
            <a:ext cx="1512168" cy="22485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9" name="CustomShape 4"/>
          <p:cNvSpPr/>
          <p:nvPr/>
        </p:nvSpPr>
        <p:spPr>
          <a:xfrm>
            <a:off x="5436096" y="4725144"/>
            <a:ext cx="1800200" cy="648072"/>
          </a:xfrm>
          <a:prstGeom prst="rect">
            <a:avLst/>
          </a:prstGeom>
          <a:solidFill>
            <a:srgbClr val="FFCCFF"/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Традиция и современность в музыке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CustomShape 3"/>
          <p:cNvSpPr/>
          <p:nvPr/>
        </p:nvSpPr>
        <p:spPr>
          <a:xfrm>
            <a:off x="7164288" y="5085184"/>
            <a:ext cx="1835696" cy="720080"/>
          </a:xfrm>
          <a:prstGeom prst="rect">
            <a:avLst/>
          </a:prstGeom>
          <a:solidFill>
            <a:srgbClr val="99CCFF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sz="1600" dirty="0" smtClean="0"/>
              <a:t>Музыка как часть духовной культуры</a:t>
            </a:r>
            <a:endParaRPr lang="ru-RU" sz="1600" dirty="0">
              <a:solidFill>
                <a:schemeClr val="tx1"/>
              </a:solidFill>
            </a:endParaRPr>
          </a:p>
        </p:txBody>
      </p:sp>
      <p:pic>
        <p:nvPicPr>
          <p:cNvPr id="38914" name="Picture 2" descr="http://www.drofa.ru/images/data/cat/4585_small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3530" y="1052736"/>
            <a:ext cx="1548383" cy="23241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7150" t="21466" r="65093" b="31182"/>
          <a:stretch>
            <a:fillRect/>
          </a:stretch>
        </p:blipFill>
        <p:spPr bwMode="auto">
          <a:xfrm>
            <a:off x="214282" y="357166"/>
            <a:ext cx="2500330" cy="3750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 l="32813" t="5833" r="33906" b="4999"/>
          <a:stretch>
            <a:fillRect/>
          </a:stretch>
        </p:blipFill>
        <p:spPr bwMode="auto">
          <a:xfrm>
            <a:off x="3143240" y="857232"/>
            <a:ext cx="2571768" cy="387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/>
          <a:srcRect l="35350" t="9427" r="34603" b="5734"/>
          <a:stretch>
            <a:fillRect/>
          </a:stretch>
        </p:blipFill>
        <p:spPr bwMode="auto">
          <a:xfrm>
            <a:off x="6215074" y="2285992"/>
            <a:ext cx="2357454" cy="374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"/>
          <p:cNvSpPr txBox="1">
            <a:spLocks noChangeArrowheads="1"/>
          </p:cNvSpPr>
          <p:nvPr/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2" name="Text Box 2"/>
          <p:cNvSpPr txBox="1">
            <a:spLocks noChangeArrowheads="1"/>
          </p:cNvSpPr>
          <p:nvPr/>
        </p:nvSpPr>
        <p:spPr bwMode="auto">
          <a:xfrm>
            <a:off x="1979712" y="3573017"/>
            <a:ext cx="6697960" cy="25447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053" name="Прямоугольник 4"/>
          <p:cNvSpPr>
            <a:spLocks noChangeArrowheads="1"/>
          </p:cNvSpPr>
          <p:nvPr/>
        </p:nvSpPr>
        <p:spPr bwMode="auto">
          <a:xfrm>
            <a:off x="2483768" y="404664"/>
            <a:ext cx="3960440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dirty="0" smtClean="0">
                <a:solidFill>
                  <a:srgbClr val="002060"/>
                </a:solidFill>
              </a:rPr>
              <a:t>ОСОБЕННОСТИ  ЛИНИИ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121" name="Rectangle 1"/>
          <p:cNvSpPr>
            <a:spLocks noChangeArrowheads="1"/>
          </p:cNvSpPr>
          <p:nvPr/>
        </p:nvSpPr>
        <p:spPr bwMode="auto">
          <a:xfrm>
            <a:off x="1691680" y="1109955"/>
            <a:ext cx="7128792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                                           </a:t>
            </a: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9" descr="цветная птица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11560" y="5301209"/>
            <a:ext cx="899592" cy="76906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  <p:pic>
        <p:nvPicPr>
          <p:cNvPr id="38914" name="Picture 2" descr="http://www.drofa.ru/images/data/cat/4585_small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30" y="1268760"/>
            <a:ext cx="1548383" cy="23241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graphicFrame>
        <p:nvGraphicFramePr>
          <p:cNvPr id="21" name="Схема 20"/>
          <p:cNvGraphicFramePr/>
          <p:nvPr/>
        </p:nvGraphicFramePr>
        <p:xfrm>
          <a:off x="2271681" y="873091"/>
          <a:ext cx="6552728" cy="5294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Содержимое 10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3851921" y="3753035"/>
            <a:ext cx="4834880" cy="2556285"/>
          </a:xfrm>
        </p:spPr>
        <p:txBody>
          <a:bodyPr>
            <a:normAutofit fontScale="92500"/>
          </a:bodyPr>
          <a:lstStyle/>
          <a:p>
            <a:pPr>
              <a:buNone/>
            </a:pPr>
            <a:r>
              <a:rPr lang="ru-RU" dirty="0" smtClean="0">
                <a:solidFill>
                  <a:srgbClr val="7030A0"/>
                </a:solidFill>
              </a:rPr>
              <a:t>СОСТАВ УМК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Учебник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ЭФУ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Дневник музыкальных путешествий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Программа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Методическое пособие</a:t>
            </a:r>
            <a:endParaRPr lang="ru-RU" dirty="0">
              <a:solidFill>
                <a:srgbClr val="7030A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7</a:t>
            </a:fld>
            <a:endParaRPr lang="ru-RU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 l="34551" t="14273" r="34737" b="19775"/>
          <a:stretch>
            <a:fillRect/>
          </a:stretch>
        </p:blipFill>
        <p:spPr bwMode="auto">
          <a:xfrm>
            <a:off x="5652122" y="1304765"/>
            <a:ext cx="1313339" cy="16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3" cstate="print"/>
          <a:srcRect l="34846" t="14273" r="34442" b="19775"/>
          <a:stretch>
            <a:fillRect/>
          </a:stretch>
        </p:blipFill>
        <p:spPr bwMode="auto">
          <a:xfrm>
            <a:off x="503548" y="1736812"/>
            <a:ext cx="1320030" cy="1700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ustomShape 10"/>
          <p:cNvSpPr/>
          <p:nvPr/>
        </p:nvSpPr>
        <p:spPr>
          <a:xfrm>
            <a:off x="1547664" y="188640"/>
            <a:ext cx="6696744" cy="820800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002060"/>
                </a:solidFill>
                <a:latin typeface="Times New Roman"/>
              </a:rPr>
              <a:t>Состав УМК по музыке «ПЛАНЕТА ЗНАНИЙ», </a:t>
            </a:r>
          </a:p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002060"/>
                </a:solidFill>
                <a:latin typeface="Times New Roman"/>
              </a:rPr>
              <a:t>Автор   Татьяна  Ивановна  Бакланова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>
          <a:blip r:embed="rId4" cstate="print"/>
          <a:srcRect l="33960" t="24609" r="34442" b="7470"/>
          <a:stretch>
            <a:fillRect/>
          </a:stretch>
        </p:blipFill>
        <p:spPr bwMode="auto">
          <a:xfrm>
            <a:off x="2087724" y="1196753"/>
            <a:ext cx="1548172" cy="199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5" cstate="print"/>
          <a:srcRect l="26282" t="49218" r="56590" b="13258"/>
          <a:stretch>
            <a:fillRect/>
          </a:stretch>
        </p:blipFill>
        <p:spPr bwMode="auto">
          <a:xfrm>
            <a:off x="3923928" y="1700809"/>
            <a:ext cx="1451694" cy="190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380" name="Picture 4"/>
          <p:cNvPicPr>
            <a:picLocks noChangeAspect="1" noChangeArrowheads="1"/>
          </p:cNvPicPr>
          <p:nvPr/>
        </p:nvPicPr>
        <p:blipFill>
          <a:blip r:embed="rId6" cstate="print"/>
          <a:srcRect l="34256" t="24609" r="34146" b="7470"/>
          <a:stretch>
            <a:fillRect/>
          </a:stretch>
        </p:blipFill>
        <p:spPr bwMode="auto">
          <a:xfrm>
            <a:off x="827586" y="3969061"/>
            <a:ext cx="1423723" cy="1836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381" name="Picture 5"/>
          <p:cNvPicPr>
            <a:picLocks noChangeAspect="1" noChangeArrowheads="1"/>
          </p:cNvPicPr>
          <p:nvPr/>
        </p:nvPicPr>
        <p:blipFill>
          <a:blip r:embed="rId7" cstate="print"/>
          <a:srcRect l="26282" t="38882" r="56295" b="13868"/>
          <a:stretch>
            <a:fillRect/>
          </a:stretch>
        </p:blipFill>
        <p:spPr bwMode="auto">
          <a:xfrm>
            <a:off x="7596338" y="2348880"/>
            <a:ext cx="1283393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8</a:t>
            </a:fld>
            <a:endParaRPr lang="ru-RU"/>
          </a:p>
        </p:txBody>
      </p:sp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2" cstate="print"/>
          <a:srcRect l="34551" t="15258" r="34737" b="18790"/>
          <a:stretch>
            <a:fillRect/>
          </a:stretch>
        </p:blipFill>
        <p:spPr bwMode="auto">
          <a:xfrm>
            <a:off x="647564" y="980728"/>
            <a:ext cx="3744416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3" name="Picture 3"/>
          <p:cNvPicPr>
            <a:picLocks noChangeAspect="1" noChangeArrowheads="1"/>
          </p:cNvPicPr>
          <p:nvPr/>
        </p:nvPicPr>
        <p:blipFill>
          <a:blip r:embed="rId3" cstate="print"/>
          <a:srcRect l="34551" t="14273" r="34737" b="19282"/>
          <a:stretch>
            <a:fillRect/>
          </a:stretch>
        </p:blipFill>
        <p:spPr bwMode="auto">
          <a:xfrm>
            <a:off x="4968044" y="1484785"/>
            <a:ext cx="3744416" cy="4860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16633"/>
            <a:ext cx="8229600" cy="900100"/>
          </a:xfrm>
        </p:spPr>
        <p:txBody>
          <a:bodyPr/>
          <a:lstStyle/>
          <a:p>
            <a:r>
              <a:rPr lang="ru-RU" dirty="0" smtClean="0"/>
              <a:t>Творческие задания</a:t>
            </a:r>
            <a:endParaRPr lang="ru-RU" dirty="0"/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9</a:t>
            </a:fld>
            <a:endParaRPr lang="ru-RU"/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2" cstate="print"/>
          <a:srcRect l="34551" t="13781" r="34442" b="18790"/>
          <a:stretch>
            <a:fillRect/>
          </a:stretch>
        </p:blipFill>
        <p:spPr bwMode="auto">
          <a:xfrm>
            <a:off x="251520" y="1196753"/>
            <a:ext cx="3780420" cy="4932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l="36913" t="57093" r="36509" b="21743"/>
          <a:stretch>
            <a:fillRect/>
          </a:stretch>
        </p:blipFill>
        <p:spPr bwMode="auto">
          <a:xfrm>
            <a:off x="3419874" y="1592796"/>
            <a:ext cx="5425719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66754" y="252369"/>
            <a:ext cx="6754905" cy="864096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АВТОРСКИЙ  КОЛЛЕКТИВ -  УДОСТОЕН  ПРЕМИИ ПРАВИТЕЛЬСТВА  РОССИЙСКОЙ  ФЕДЕРАЦИИ  </a:t>
            </a:r>
          </a:p>
          <a:p>
            <a:pPr algn="ctr"/>
            <a:r>
              <a:rPr lang="ru-RU" sz="16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В  ОБЛАСТИ ОБРАЗОВАНИЯ  2005 г</a:t>
            </a:r>
            <a:endParaRPr lang="ru-RU" sz="1600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CustomShape 3"/>
          <p:cNvSpPr/>
          <p:nvPr/>
        </p:nvSpPr>
        <p:spPr>
          <a:xfrm>
            <a:off x="409520" y="1274733"/>
            <a:ext cx="6316749" cy="4746691"/>
          </a:xfrm>
          <a:prstGeom prst="rect">
            <a:avLst/>
          </a:prstGeom>
        </p:spPr>
        <p:txBody>
          <a:bodyPr lIns="90000" tIns="45000" rIns="90000" bIns="4500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2200" b="1" i="1" dirty="0">
                <a:solidFill>
                  <a:srgbClr val="FF0000"/>
                </a:solidFill>
                <a:latin typeface="Times New Roman"/>
              </a:rPr>
              <a:t>Валерия Олеговна Усачева </a:t>
            </a:r>
            <a:r>
              <a:rPr lang="ru-RU" sz="2200" dirty="0">
                <a:solidFill>
                  <a:srgbClr val="FF0000"/>
                </a:solidFill>
                <a:latin typeface="Times New Roman"/>
              </a:rPr>
              <a:t> </a:t>
            </a:r>
            <a:endParaRPr lang="ru-RU" sz="2200" dirty="0" smtClean="0">
              <a:solidFill>
                <a:srgbClr val="FF0000"/>
              </a:solidFill>
              <a:latin typeface="Times New Roman"/>
            </a:endParaRPr>
          </a:p>
          <a:p>
            <a:pPr>
              <a:lnSpc>
                <a:spcPct val="100000"/>
              </a:lnSpc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ндидат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едагогических наук,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омпозитор, член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юза композиторов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Ф, старший научный сотрудни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ФГБНУ «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ИХОи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РАО», редактор журнала «Учитель музыки».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sz="16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endParaRPr lang="ru-RU" sz="2200" b="1" i="1" dirty="0" smtClean="0">
              <a:solidFill>
                <a:srgbClr val="FF0000"/>
              </a:solidFill>
              <a:latin typeface="Times New Roman"/>
            </a:endParaRPr>
          </a:p>
          <a:p>
            <a:pPr>
              <a:lnSpc>
                <a:spcPct val="100000"/>
              </a:lnSpc>
            </a:pPr>
            <a:endParaRPr lang="ru-RU" sz="2200" b="1" i="1" dirty="0" smtClean="0">
              <a:solidFill>
                <a:srgbClr val="FF0000"/>
              </a:solidFill>
              <a:latin typeface="Times New Roman"/>
            </a:endParaRPr>
          </a:p>
          <a:p>
            <a:pPr>
              <a:lnSpc>
                <a:spcPct val="100000"/>
              </a:lnSpc>
            </a:pPr>
            <a:r>
              <a:rPr lang="ru-RU" sz="2200" b="1" i="1" dirty="0" smtClean="0">
                <a:solidFill>
                  <a:srgbClr val="FF0000"/>
                </a:solidFill>
                <a:latin typeface="Times New Roman"/>
              </a:rPr>
              <a:t>Людмила </a:t>
            </a:r>
            <a:r>
              <a:rPr lang="ru-RU" sz="2200" b="1" i="1" dirty="0">
                <a:solidFill>
                  <a:srgbClr val="FF0000"/>
                </a:solidFill>
                <a:latin typeface="Times New Roman"/>
              </a:rPr>
              <a:t>Валентиновна </a:t>
            </a:r>
            <a:r>
              <a:rPr lang="ru-RU" sz="2200" b="1" i="1" dirty="0" smtClean="0">
                <a:solidFill>
                  <a:srgbClr val="FF0000"/>
                </a:solidFill>
                <a:latin typeface="Times New Roman"/>
              </a:rPr>
              <a:t>Школяр</a:t>
            </a:r>
          </a:p>
          <a:p>
            <a:pPr>
              <a:lnSpc>
                <a:spcPct val="100000"/>
              </a:lnSpc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оветник руководителя ФГБНУ «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ИХОи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РАО», </a:t>
            </a:r>
          </a:p>
          <a:p>
            <a:pPr>
              <a:lnSpc>
                <a:spcPct val="100000"/>
              </a:lnSpc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октор педагогических наук, профессор, академик Российской академии образования, Председатель диссертационного совета Института, главный редактор электронного научного журнала "Педагогика искусства».</a:t>
            </a:r>
          </a:p>
          <a:p>
            <a:pPr>
              <a:lnSpc>
                <a:spcPct val="100000"/>
              </a:lnSpc>
            </a:pPr>
            <a:endParaRPr lang="ru-RU" sz="1600" dirty="0" smtClean="0"/>
          </a:p>
          <a:p>
            <a:pPr>
              <a:lnSpc>
                <a:spcPct val="100000"/>
              </a:lnSpc>
            </a:pPr>
            <a:endParaRPr sz="1600" dirty="0"/>
          </a:p>
          <a:p>
            <a:pPr>
              <a:lnSpc>
                <a:spcPct val="100000"/>
              </a:lnSpc>
            </a:pPr>
            <a:r>
              <a:rPr lang="ru-RU" sz="2200" b="1" i="1" dirty="0" smtClean="0">
                <a:solidFill>
                  <a:srgbClr val="FF0000"/>
                </a:solidFill>
                <a:latin typeface="Times New Roman"/>
              </a:rPr>
              <a:t>Владимир </a:t>
            </a:r>
            <a:r>
              <a:rPr lang="ru-RU" sz="2200" b="1" i="1" dirty="0">
                <a:solidFill>
                  <a:srgbClr val="FF0000"/>
                </a:solidFill>
                <a:latin typeface="Times New Roman"/>
              </a:rPr>
              <a:t>Александрович </a:t>
            </a:r>
            <a:r>
              <a:rPr lang="ru-RU" sz="2200" b="1" i="1" dirty="0" smtClean="0">
                <a:solidFill>
                  <a:srgbClr val="FF0000"/>
                </a:solidFill>
                <a:latin typeface="Times New Roman"/>
              </a:rPr>
              <a:t>Школяр</a:t>
            </a:r>
          </a:p>
          <a:p>
            <a:pPr>
              <a:lnSpc>
                <a:spcPct val="100000"/>
              </a:lnSpc>
            </a:pPr>
            <a:r>
              <a:rPr lang="ru-RU" sz="1600" dirty="0" smtClean="0">
                <a:solidFill>
                  <a:srgbClr val="000000"/>
                </a:solidFill>
                <a:latin typeface="Times New Roman"/>
              </a:rPr>
              <a:t>ст</a:t>
            </a:r>
            <a:r>
              <a:rPr lang="ru-RU" sz="1600" dirty="0">
                <a:solidFill>
                  <a:srgbClr val="000000"/>
                </a:solidFill>
                <a:latin typeface="Times New Roman"/>
              </a:rPr>
              <a:t>. научный сотрудник ИХО РАО, кандидат педагогических наук. </a:t>
            </a:r>
            <a:endParaRPr sz="1600"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ru-RU" sz="2400" dirty="0">
                <a:solidFill>
                  <a:srgbClr val="000000"/>
                </a:solidFill>
                <a:latin typeface="Calibri"/>
              </a:rPr>
              <a:t> </a:t>
            </a:r>
            <a:endParaRPr dirty="0"/>
          </a:p>
        </p:txBody>
      </p:sp>
      <p:pic>
        <p:nvPicPr>
          <p:cNvPr id="6" name="Picture 6" descr="http://xn--b1aanbebkbbpfqcbebcaoyded7a1etm.xn--p1ai/biography/photo/usachev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00295" y="1165194"/>
            <a:ext cx="1534011" cy="1615735"/>
          </a:xfrm>
          <a:prstGeom prst="rect">
            <a:avLst/>
          </a:prstGeom>
          <a:noFill/>
        </p:spPr>
      </p:pic>
      <p:pic>
        <p:nvPicPr>
          <p:cNvPr id="7" name="Picture 2" descr="http://www.art-education.ru/sites/default/files/u40/l.v.shkolyar_sayt_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36296" y="2924944"/>
            <a:ext cx="1512168" cy="1887904"/>
          </a:xfrm>
          <a:prstGeom prst="rect">
            <a:avLst/>
          </a:prstGeom>
          <a:noFill/>
        </p:spPr>
      </p:pic>
      <p:pic>
        <p:nvPicPr>
          <p:cNvPr id="8" name="Picture 4" descr="http://content.foto.mail.ru/mail/vtkud/_blogs/i-4715.jpg"/>
          <p:cNvPicPr>
            <a:picLocks noChangeAspect="1" noChangeArrowheads="1"/>
          </p:cNvPicPr>
          <p:nvPr/>
        </p:nvPicPr>
        <p:blipFill>
          <a:blip r:embed="rId4" cstate="print"/>
          <a:srcRect l="15438" r="17825"/>
          <a:stretch>
            <a:fillRect/>
          </a:stretch>
        </p:blipFill>
        <p:spPr bwMode="auto">
          <a:xfrm>
            <a:off x="7272300" y="4941168"/>
            <a:ext cx="1440160" cy="1481485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ная деятельность</a:t>
            </a:r>
            <a:endParaRPr lang="ru-RU" dirty="0"/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0</a:t>
            </a:fld>
            <a:endParaRPr lang="ru-RU"/>
          </a:p>
        </p:txBody>
      </p:sp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2" cstate="print"/>
          <a:srcRect l="34551" t="14273" r="35032" b="19775"/>
          <a:stretch>
            <a:fillRect/>
          </a:stretch>
        </p:blipFill>
        <p:spPr bwMode="auto">
          <a:xfrm>
            <a:off x="287524" y="1376772"/>
            <a:ext cx="3708412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451" name="Picture 3"/>
          <p:cNvPicPr>
            <a:picLocks noChangeAspect="1" noChangeArrowheads="1"/>
          </p:cNvPicPr>
          <p:nvPr/>
        </p:nvPicPr>
        <p:blipFill>
          <a:blip r:embed="rId3" cstate="print"/>
          <a:srcRect l="35437" t="16242" r="35327" b="20759"/>
          <a:stretch>
            <a:fillRect/>
          </a:stretch>
        </p:blipFill>
        <p:spPr bwMode="auto">
          <a:xfrm>
            <a:off x="4932040" y="1196752"/>
            <a:ext cx="3564396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440" y="800065"/>
            <a:ext cx="1872208" cy="216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2195736" y="1052736"/>
            <a:ext cx="65527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Галина Ивановна Данилова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к. п. н., </a:t>
            </a:r>
          </a:p>
          <a:p>
            <a:pPr algn="just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служенный учитель Российской Федерации, долгое время работала в школе №1692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Зеленоградско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административного округа г. Москвы учителем русского языка, литературы и мировой художественной культуры, победитель конкурса лучших учителей России в рамках Национального приоритетного проекта «Образование</a:t>
            </a:r>
            <a:r>
              <a:rPr lang="ru-RU" dirty="0" smtClean="0"/>
              <a:t>» 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11560" y="3284985"/>
            <a:ext cx="784887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собенности авторской концепции</a:t>
            </a:r>
          </a:p>
          <a:p>
            <a:pPr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принцип непрерывности и преемственности;</a:t>
            </a:r>
          </a:p>
          <a:p>
            <a:pPr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принцип интеграции;</a:t>
            </a:r>
          </a:p>
          <a:p>
            <a:pPr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принцип вариативности;</a:t>
            </a:r>
          </a:p>
          <a:p>
            <a:pPr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принцип дифференциации и индивидуализации.</a:t>
            </a: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МК «Искусство»  – </a:t>
            </a:r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нструмент организации Вашей работы по воспитанию и развитию художественного вкуса </a:t>
            </a:r>
            <a:r>
              <a:rPr lang="ru-RU" sz="16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ащихся, их интеллектуальной и эмоциональной сферы, творческого потенциала, способностей оценивать окружающий мир по законам</a:t>
            </a:r>
          </a:p>
          <a:p>
            <a:r>
              <a:rPr lang="ru-RU" sz="16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расоты.</a:t>
            </a:r>
            <a:endParaRPr lang="ru-RU" sz="16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CustomShape 10"/>
          <p:cNvSpPr/>
          <p:nvPr/>
        </p:nvSpPr>
        <p:spPr>
          <a:xfrm>
            <a:off x="2235168" y="507960"/>
            <a:ext cx="5616624" cy="6767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60">
            <a:solidFill>
              <a:srgbClr val="FFFFFF"/>
            </a:solidFill>
            <a:round/>
          </a:ln>
        </p:spPr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Автор  линии УМК «ИСКУССТВО» </a:t>
            </a:r>
          </a:p>
        </p:txBody>
      </p:sp>
      <p:pic>
        <p:nvPicPr>
          <p:cNvPr id="18" name="Picture 9" descr="цветная птица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8028384" y="5733256"/>
            <a:ext cx="1008112" cy="86184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цветная птица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0" y="434933"/>
            <a:ext cx="1008112" cy="86184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dist="17961" dir="2700000" algn="ctr" rotWithShape="0">
              <a:srgbClr val="660033"/>
            </a:outerShdw>
          </a:effec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1547664" y="332656"/>
            <a:ext cx="6264696" cy="6480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899592" y="332656"/>
            <a:ext cx="7641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</a:rPr>
              <a:t>СОСТАВ  УМК  «ИСКУССТВО» В  СИСТЕМЕ УЧЕБНИКОВ «ВЕРТИКАЛЬ» </a:t>
            </a:r>
          </a:p>
        </p:txBody>
      </p:sp>
      <p:pic>
        <p:nvPicPr>
          <p:cNvPr id="46082" name="Picture 2" descr="http://www.drofa.ru/images/data/cat/5237_bi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95371" y="836578"/>
            <a:ext cx="1365811" cy="19442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46084" name="Picture 4" descr="http://www.drofa.ru/images/data/cat/_big_1375701260_resize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5570" y="3100383"/>
            <a:ext cx="1130252" cy="1728192"/>
          </a:xfrm>
          <a:prstGeom prst="rect">
            <a:avLst/>
          </a:prstGeom>
          <a:noFill/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11480" y="727039"/>
            <a:ext cx="1473220" cy="23042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2125629" y="3246435"/>
            <a:ext cx="5112568" cy="2043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ea typeface="Calibri" pitchFamily="34" charset="0"/>
                <a:cs typeface="Times New Roman" pitchFamily="18" charset="0"/>
              </a:rPr>
              <a:t>Состав УМК: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    РАБОЧИЕ ПРОГРАММЫ (5-11  </a:t>
            </a:r>
            <a:r>
              <a:rPr lang="ru-RU" sz="1600" b="1" dirty="0" err="1" smtClean="0">
                <a:solidFill>
                  <a:schemeClr val="tx2">
                    <a:lumMod val="75000"/>
                  </a:schemeClr>
                </a:solidFill>
              </a:rPr>
              <a:t>кл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)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cs typeface="Arial" pitchFamily="34" charset="0"/>
            </a:endParaRPr>
          </a:p>
          <a:p>
            <a:pPr marL="342900" indent="-342900">
              <a:spcBef>
                <a:spcPct val="20000"/>
              </a:spcBef>
              <a:buClr>
                <a:srgbClr val="080903"/>
              </a:buClr>
              <a:buFont typeface="Wingdings" pitchFamily="2" charset="2"/>
              <a:buChar char="Ø"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УЧЕБНИК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ea typeface="Calibri" pitchFamily="34" charset="0"/>
                <a:cs typeface="Times New Roman" pitchFamily="18" charset="0"/>
              </a:rPr>
              <a:t>(5-11 КЛ)</a:t>
            </a:r>
            <a:endParaRPr lang="ru-RU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342900" indent="-342900">
              <a:spcBef>
                <a:spcPct val="20000"/>
              </a:spcBef>
              <a:buClr>
                <a:srgbClr val="080903"/>
              </a:buClr>
              <a:buFont typeface="Wingdings" pitchFamily="2" charset="2"/>
              <a:buChar char="Ø"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ЭЛЕКТРОННАЯ ФОРМА УЧЕБНИКА</a:t>
            </a:r>
          </a:p>
          <a:p>
            <a:pPr marL="342900" indent="-342900">
              <a:spcBef>
                <a:spcPct val="20000"/>
              </a:spcBef>
              <a:buClr>
                <a:srgbClr val="080903"/>
              </a:buClr>
              <a:buFont typeface="Wingdings" pitchFamily="2" charset="2"/>
              <a:buChar char="Ø"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МЕТОДИЧЕСКОЕ ПОСОБИЕ </a:t>
            </a:r>
          </a:p>
          <a:p>
            <a:pPr marL="342900" indent="-342900">
              <a:spcBef>
                <a:spcPct val="20000"/>
              </a:spcBef>
              <a:buClr>
                <a:srgbClr val="080903"/>
              </a:buClr>
              <a:buFont typeface="Wingdings" pitchFamily="2" charset="2"/>
              <a:buChar char="Ø"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cs typeface="Arial" pitchFamily="34" charset="0"/>
              </a:rPr>
              <a:t>РАБОЧАЯ ТЕТРАДЬ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1" name="Picture 2" descr="http://www.drofa.ru/images/data/cat/5288_big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30877" y="617499"/>
            <a:ext cx="1512168" cy="23813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32" name="Picture 28" descr="http://www.drofa.ru/images/data/cat/5683_big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64423" y="1712890"/>
            <a:ext cx="1512168" cy="23813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88111" y="4086235"/>
            <a:ext cx="864096" cy="1128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Прямоугольник 32"/>
          <p:cNvSpPr/>
          <p:nvPr/>
        </p:nvSpPr>
        <p:spPr>
          <a:xfrm>
            <a:off x="4754565" y="5108600"/>
            <a:ext cx="40324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</a:rPr>
              <a:t>методическое пособие для учителя (поурочное планирование и сценарий современного урока), рабочие тетради 7, 8, 9 классы. 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629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3</a:t>
            </a:fld>
            <a:endParaRPr lang="ru-RU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21657" y="580987"/>
            <a:ext cx="1011166" cy="14774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6953" y="1895455"/>
            <a:ext cx="1022364" cy="1457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21657" y="2187558"/>
            <a:ext cx="1022364" cy="14445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6953" y="3465515"/>
            <a:ext cx="1020001" cy="1314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21657" y="3757618"/>
            <a:ext cx="1022364" cy="13831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955" y="4926033"/>
            <a:ext cx="1022363" cy="12779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58172" y="5254651"/>
            <a:ext cx="985851" cy="1314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299980" y="800065"/>
            <a:ext cx="7476885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rgbClr val="002060"/>
                </a:solidFill>
              </a:rPr>
              <a:t>5 класс. «Вечные образы искусства. Мифология». </a:t>
            </a:r>
          </a:p>
          <a:p>
            <a:r>
              <a:rPr lang="ru-RU" sz="1600" dirty="0" smtClean="0"/>
              <a:t>Наиболее известные сюжеты античной и славянской мифологии рассматриваются в различных видах искусства и в различных интерпретациях, не утратившие актуальность и нравственную значимость и в наше время </a:t>
            </a:r>
            <a:endParaRPr lang="ru-RU" sz="1600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i="1" dirty="0" smtClean="0"/>
          </a:p>
          <a:p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285831" y="2041507"/>
            <a:ext cx="624372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rgbClr val="002060"/>
                </a:solidFill>
              </a:rPr>
              <a:t>6 класс. «Библейские сюжеты и образы».</a:t>
            </a:r>
            <a:r>
              <a:rPr lang="ru-RU" sz="1600" b="1" dirty="0" smtClean="0">
                <a:solidFill>
                  <a:srgbClr val="002060"/>
                </a:solidFill>
              </a:rPr>
              <a:t> </a:t>
            </a:r>
            <a:r>
              <a:rPr lang="ru-RU" sz="1600" dirty="0" smtClean="0"/>
              <a:t>Библейские образы и сюжеты изучаются в произведениях различных видов искусства в тесной связи с современностью. </a:t>
            </a:r>
          </a:p>
          <a:p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39552" y="260648"/>
            <a:ext cx="90051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2"/>
                </a:solidFill>
              </a:rPr>
              <a:t>Структура курса «ИСКУССТВО» охватывает все исторические периоды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928915" y="3027358"/>
            <a:ext cx="70455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rgbClr val="002060"/>
                </a:solidFill>
              </a:rPr>
              <a:t>7 класс. «Мир и Человек в искусстве»</a:t>
            </a:r>
            <a:r>
              <a:rPr lang="ru-RU" sz="1600" b="1" dirty="0" smtClean="0"/>
              <a:t>. </a:t>
            </a:r>
          </a:p>
          <a:p>
            <a:r>
              <a:rPr lang="ru-RU" sz="1600" dirty="0" smtClean="0"/>
              <a:t>Своеобразие  художественных традиций народов мира. </a:t>
            </a:r>
            <a:r>
              <a:rPr lang="ru-RU" sz="1600" i="1" dirty="0" smtClean="0">
                <a:solidFill>
                  <a:srgbClr val="002060"/>
                </a:solidFill>
              </a:rPr>
              <a:t>                                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22343" y="3721105"/>
            <a:ext cx="51848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rgbClr val="002060"/>
                </a:solidFill>
              </a:rPr>
              <a:t>8 класс. «Виды искусства».</a:t>
            </a:r>
          </a:p>
          <a:p>
            <a:r>
              <a:rPr lang="ru-RU" sz="1600" b="1" i="1" dirty="0" smtClean="0">
                <a:solidFill>
                  <a:srgbClr val="002060"/>
                </a:solidFill>
              </a:rPr>
              <a:t> </a:t>
            </a:r>
            <a:r>
              <a:rPr lang="ru-RU" sz="1600" dirty="0" smtClean="0"/>
              <a:t>Определение роли  и места  искусства в жизни человека</a:t>
            </a:r>
          </a:p>
          <a:p>
            <a:r>
              <a:rPr lang="ru-RU" sz="1600" dirty="0" smtClean="0"/>
              <a:t> и общества, изучении видов искусства. </a:t>
            </a:r>
            <a:endParaRPr lang="ru-RU" sz="16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206870" y="4597418"/>
            <a:ext cx="74168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002060"/>
                </a:solidFill>
              </a:rPr>
              <a:t>9 класс. «Содружество искусств». </a:t>
            </a:r>
          </a:p>
          <a:p>
            <a:r>
              <a:rPr lang="ru-RU" sz="1400" dirty="0" smtClean="0"/>
              <a:t>Специфика синтетических видов искусства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322343" y="5218136"/>
            <a:ext cx="55864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chemeClr val="tx2">
                    <a:lumMod val="75000"/>
                  </a:schemeClr>
                </a:solidFill>
              </a:rPr>
              <a:t>10 класс. Художественная культура: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т истоков до XVII в.</a:t>
            </a:r>
            <a:endParaRPr lang="ru-RU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49636" y="5875371"/>
            <a:ext cx="70202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11 класс. «От XVII века до современности»    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45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8046156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786050" y="214290"/>
            <a:ext cx="6215106" cy="883476"/>
          </a:xfr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ниторинг качества подготовки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4</a:t>
            </a:fld>
            <a:endParaRPr lang="ru-RU"/>
          </a:p>
        </p:txBody>
      </p:sp>
      <p:pic>
        <p:nvPicPr>
          <p:cNvPr id="147459" name="Picture 3"/>
          <p:cNvPicPr>
            <a:picLocks noChangeAspect="1" noChangeArrowheads="1"/>
          </p:cNvPicPr>
          <p:nvPr/>
        </p:nvPicPr>
        <p:blipFill>
          <a:blip r:embed="rId3"/>
          <a:srcRect l="20000" t="23333" r="20937" b="38333"/>
          <a:stretch>
            <a:fillRect/>
          </a:stretch>
        </p:blipFill>
        <p:spPr bwMode="auto">
          <a:xfrm>
            <a:off x="1698920" y="3929066"/>
            <a:ext cx="7445080" cy="2718054"/>
          </a:xfrm>
          <a:prstGeom prst="roundRect">
            <a:avLst>
              <a:gd name="adj" fmla="val 15793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8215338" y="4572008"/>
            <a:ext cx="785818" cy="1588"/>
          </a:xfrm>
          <a:prstGeom prst="line">
            <a:avLst/>
          </a:prstGeom>
          <a:ln>
            <a:solidFill>
              <a:srgbClr val="E224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2714612" y="4643446"/>
            <a:ext cx="2928958" cy="71438"/>
          </a:xfrm>
          <a:prstGeom prst="line">
            <a:avLst/>
          </a:prstGeom>
          <a:ln>
            <a:solidFill>
              <a:srgbClr val="E224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7929586" y="6215082"/>
            <a:ext cx="1000132" cy="71438"/>
          </a:xfrm>
          <a:prstGeom prst="line">
            <a:avLst/>
          </a:prstGeom>
          <a:ln>
            <a:solidFill>
              <a:srgbClr val="E224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2143108" y="6143644"/>
            <a:ext cx="3429024" cy="285752"/>
          </a:xfrm>
          <a:prstGeom prst="line">
            <a:avLst/>
          </a:prstGeom>
          <a:ln>
            <a:solidFill>
              <a:srgbClr val="E224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5</a:t>
            </a:fld>
            <a:endParaRPr lang="ru-RU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3271" r="14089" b="6783"/>
          <a:stretch>
            <a:fillRect/>
          </a:stretch>
        </p:blipFill>
        <p:spPr bwMode="auto">
          <a:xfrm>
            <a:off x="0" y="763551"/>
            <a:ext cx="6264188" cy="532925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5796136" y="1592796"/>
            <a:ext cx="3168352" cy="352839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6000" rIns="3600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lvl="1" indent="-171450" algn="ctr">
              <a:defRPr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лектронная 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орма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учебника </a:t>
            </a:r>
          </a:p>
          <a:p>
            <a:pPr marL="216000" lvl="1" indent="-171450">
              <a:defRPr/>
            </a:pP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представляет </a:t>
            </a:r>
            <a:r>
              <a:rPr lang="ru-RU" sz="16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бой электронное издание, соответствующее по структуре, содержанию и художественному оформлению печатной форме учебника, содержащей мультимедийные элементы и интерактивные ссылки, расширяющие и дополняющие содержание </a:t>
            </a:r>
            <a:r>
              <a:rPr lang="ru-RU" sz="16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чебника</a:t>
            </a:r>
            <a:endParaRPr lang="ru-RU" sz="24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 txBox="1">
            <a:spLocks noGrp="1"/>
          </p:cNvSpPr>
          <p:nvPr>
            <p:ph type="title"/>
          </p:nvPr>
        </p:nvSpPr>
        <p:spPr>
          <a:xfrm>
            <a:off x="457200" y="361909"/>
            <a:ext cx="8229600" cy="365131"/>
          </a:xfrm>
          <a:prstGeom prst="rect">
            <a:avLst/>
          </a:prstGeom>
        </p:spPr>
        <p:txBody>
          <a:bodyPr>
            <a:normAutofit fontScale="90000"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ы должны готовить наших детей к их «завтра», а не к нашему вчера.</a:t>
            </a:r>
          </a:p>
          <a:p>
            <a:pPr lvl="0">
              <a:defRPr/>
            </a:pP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lang="ru-RU" b="1" dirty="0" smtClean="0">
                <a:solidFill>
                  <a:srgbClr val="FF0000"/>
                </a:solidFill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1400" b="1" dirty="0" smtClean="0">
                <a:solidFill>
                  <a:schemeClr val="bg1"/>
                </a:solidFill>
                <a:ea typeface="+mj-ea"/>
                <a:cs typeface="Arial" charset="0"/>
              </a:rPr>
              <a:t>Электронная форма учебника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6</a:t>
            </a:fld>
            <a:endParaRPr lang="ru-RU"/>
          </a:p>
        </p:txBody>
      </p:sp>
      <p:graphicFrame>
        <p:nvGraphicFramePr>
          <p:cNvPr id="3" name="Схема 2"/>
          <p:cNvGraphicFramePr/>
          <p:nvPr/>
        </p:nvGraphicFramePr>
        <p:xfrm>
          <a:off x="251520" y="836712"/>
          <a:ext cx="8424936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7" cstate="print"/>
          <a:srcRect l="17014" t="11111" r="19791" b="5556"/>
          <a:stretch>
            <a:fillRect/>
          </a:stretch>
        </p:blipFill>
        <p:spPr bwMode="auto">
          <a:xfrm>
            <a:off x="3347864" y="2204864"/>
            <a:ext cx="2308800" cy="2664000"/>
          </a:xfrm>
          <a:prstGeom prst="rect">
            <a:avLst/>
          </a:prstGeom>
          <a:noFill/>
          <a:ln w="12700" cmpd="dbl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683568" y="188640"/>
            <a:ext cx="7632848" cy="64807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ЭФУ дополняет функции печатной версии учебни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7</a:t>
            </a:fld>
            <a:endParaRPr lang="ru-RU"/>
          </a:p>
        </p:txBody>
      </p:sp>
      <p:pic>
        <p:nvPicPr>
          <p:cNvPr id="9" name="Picture 2"/>
          <p:cNvPicPr>
            <a:picLocks noGrp="1" noChangeAspect="1" noChangeArrowheads="1"/>
          </p:cNvPicPr>
          <p:nvPr/>
        </p:nvPicPr>
        <p:blipFill>
          <a:blip r:embed="rId2" cstate="print"/>
          <a:srcRect l="11900" t="3297" r="11900" b="6348"/>
          <a:stretch>
            <a:fillRect/>
          </a:stretch>
        </p:blipFill>
        <p:spPr bwMode="auto">
          <a:xfrm>
            <a:off x="0" y="440668"/>
            <a:ext cx="5904148" cy="5589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>
            <a:spLocks noGrp="1"/>
          </p:cNvSpPr>
          <p:nvPr/>
        </p:nvSpPr>
        <p:spPr>
          <a:xfrm>
            <a:off x="5192723" y="288881"/>
            <a:ext cx="3791037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1800" dirty="0" smtClean="0">
                <a:solidFill>
                  <a:schemeClr val="tx2"/>
                </a:solidFill>
              </a:rPr>
              <a:t>Электронная копия учебника. </a:t>
            </a:r>
            <a:br>
              <a:rPr lang="ru-RU" sz="1800" dirty="0" smtClean="0">
                <a:solidFill>
                  <a:schemeClr val="tx2"/>
                </a:solidFill>
              </a:rPr>
            </a:br>
            <a:r>
              <a:rPr lang="ru-RU" sz="1800" dirty="0" smtClean="0">
                <a:solidFill>
                  <a:schemeClr val="tx2"/>
                </a:solidFill>
              </a:rPr>
              <a:t>Как использовать на практике?</a:t>
            </a:r>
            <a:endParaRPr lang="ru-RU" sz="1800" dirty="0">
              <a:solidFill>
                <a:schemeClr val="tx2"/>
              </a:solidFill>
            </a:endParaRPr>
          </a:p>
        </p:txBody>
      </p:sp>
      <p:graphicFrame>
        <p:nvGraphicFramePr>
          <p:cNvPr id="11" name="Содержимое 5"/>
          <p:cNvGraphicFramePr>
            <a:graphicFrameLocks/>
          </p:cNvGraphicFramePr>
          <p:nvPr/>
        </p:nvGraphicFramePr>
        <p:xfrm>
          <a:off x="5375287" y="1201708"/>
          <a:ext cx="3395709" cy="50022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2"/>
          <a:srcRect l="19219" t="14166" r="36718" b="5000"/>
          <a:stretch>
            <a:fillRect/>
          </a:stretch>
        </p:blipFill>
        <p:spPr bwMode="auto">
          <a:xfrm>
            <a:off x="285720" y="571480"/>
            <a:ext cx="5330600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8</a:t>
            </a:fld>
            <a:endParaRPr lang="ru-RU"/>
          </a:p>
        </p:txBody>
      </p:sp>
      <p:sp>
        <p:nvSpPr>
          <p:cNvPr id="4" name="Заголовок 1"/>
          <p:cNvSpPr>
            <a:spLocks noGrp="1"/>
          </p:cNvSpPr>
          <p:nvPr/>
        </p:nvSpPr>
        <p:spPr>
          <a:xfrm>
            <a:off x="190440" y="215857"/>
            <a:ext cx="8617068" cy="3960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2400" b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Основные отличия электронного от бумажного учебника</a:t>
            </a:r>
            <a:r>
              <a:rPr lang="ru-RU" sz="28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28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Содержимое 5"/>
          <p:cNvGraphicFramePr>
            <a:graphicFrameLocks/>
          </p:cNvGraphicFramePr>
          <p:nvPr/>
        </p:nvGraphicFramePr>
        <p:xfrm>
          <a:off x="5857852" y="857232"/>
          <a:ext cx="3286148" cy="3359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5500694" y="4714884"/>
            <a:ext cx="3468736" cy="182565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 итоге  ЭФУ нацеливает на интеллектуальную коммуникацию, через ссылки и заметки- выход на новый формат взаимодействия  в форме диалога.</a:t>
            </a:r>
            <a:endParaRPr lang="ru-RU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rot="5400000">
            <a:off x="1785920" y="1500176"/>
            <a:ext cx="4357717" cy="3786213"/>
          </a:xfrm>
          <a:prstGeom prst="straightConnector1">
            <a:avLst/>
          </a:prstGeom>
          <a:ln w="38100">
            <a:solidFill>
              <a:srgbClr val="E224C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rot="5400000">
            <a:off x="2643176" y="2428868"/>
            <a:ext cx="3571899" cy="2857521"/>
          </a:xfrm>
          <a:prstGeom prst="straightConnector1">
            <a:avLst/>
          </a:prstGeom>
          <a:ln w="38100">
            <a:solidFill>
              <a:srgbClr val="E224C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rot="5400000">
            <a:off x="3643308" y="3357562"/>
            <a:ext cx="2500329" cy="1785948"/>
          </a:xfrm>
          <a:prstGeom prst="straightConnector1">
            <a:avLst/>
          </a:prstGeom>
          <a:ln w="38100">
            <a:solidFill>
              <a:srgbClr val="E224C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 rot="5400000">
            <a:off x="4214813" y="4000505"/>
            <a:ext cx="1857387" cy="1285881"/>
          </a:xfrm>
          <a:prstGeom prst="straightConnector1">
            <a:avLst/>
          </a:prstGeom>
          <a:ln w="38100">
            <a:solidFill>
              <a:srgbClr val="E224C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9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99979" y="458956"/>
            <a:ext cx="8544042" cy="55092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/>
            <a:r>
              <a:rPr lang="ru-RU" sz="2800" b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Нормативно-правовые документы</a:t>
            </a:r>
          </a:p>
          <a:p>
            <a:pPr marL="342900" indent="-342900">
              <a:buFont typeface="+mj-lt"/>
              <a:buAutoNum type="arabicPeriod"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ФЗ об Образовании, приказ 273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(укомплектованность библиотек печатными и (или) электронными учебными изданиями (включая учебники и учебные пособия)». В результате у школы появляется возможность использовать электронные учебники в образовательном процессе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каз </a:t>
            </a: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инобрнауки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России от 29.12.2014 N 1643, 1644, 1645</a:t>
            </a:r>
          </a:p>
          <a:p>
            <a:pPr marL="342900" indent="-342900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Норма обеспеченности образовательной деятельности учебными изданиями определяется исходя из расчета: не менее одного учебника в печатной и (или) электронной форме, достаточного для освоения программы учебного предмета на каждого обучающегося по каждому учебному предмету….». </a:t>
            </a:r>
          </a:p>
          <a:p>
            <a:pPr marL="342900" indent="-342900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3.  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каз Приказ N 1047 </a:t>
            </a: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инобрнауки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России от 5 сентября 2013 г.                 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В федеральный перечень учебников включаются учебники, рекомендованные Научно-методическим советом по учебникам... С 1 января 2015 года представляется наряду с учебником в печатной форме учебник в электронной форме».</a:t>
            </a:r>
          </a:p>
          <a:p>
            <a:pPr marL="342900" indent="-342900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4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  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каз N 1559 </a:t>
            </a:r>
            <a:r>
              <a:rPr lang="ru-RU" b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инобрнауки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России от 8 декабря 2014 г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 единственный на сегодня документ, где прописаны требования к ЭФУ…</a:t>
            </a:r>
          </a:p>
          <a:p>
            <a:pPr marL="342900" indent="-342900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Структура и содержание и художественное оформление электронной и печатной форм учебник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ответствуют друг другу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7" name="Picture 1"/>
          <p:cNvPicPr>
            <a:picLocks noChangeAspect="1" noChangeArrowheads="1"/>
          </p:cNvPicPr>
          <p:nvPr/>
        </p:nvPicPr>
        <p:blipFill>
          <a:blip r:embed="rId3"/>
          <a:srcRect l="33750" t="13333" r="40937" b="29166"/>
          <a:stretch>
            <a:fillRect/>
          </a:stretch>
        </p:blipFill>
        <p:spPr bwMode="auto">
          <a:xfrm>
            <a:off x="5786446" y="1000108"/>
            <a:ext cx="3500462" cy="4929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804248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902F8198-9114-4FB0-9D23-06A30A0AC4A1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68397" y="260648"/>
            <a:ext cx="6134183" cy="576064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акой урок музыки можно считать современным?</a:t>
            </a:r>
            <a:endParaRPr lang="ru-RU" sz="20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1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071934" y="5214950"/>
            <a:ext cx="1080120" cy="1440160"/>
          </a:xfrm>
          <a:prstGeom prst="rect">
            <a:avLst/>
          </a:prstGeom>
        </p:spPr>
      </p:pic>
      <p:graphicFrame>
        <p:nvGraphicFramePr>
          <p:cNvPr id="6" name="Схема 5"/>
          <p:cNvGraphicFramePr/>
          <p:nvPr/>
        </p:nvGraphicFramePr>
        <p:xfrm>
          <a:off x="-285784" y="1000108"/>
          <a:ext cx="5857916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7" name="Скругленный прямоугольник 6"/>
          <p:cNvSpPr/>
          <p:nvPr/>
        </p:nvSpPr>
        <p:spPr>
          <a:xfrm>
            <a:off x="428596" y="2857496"/>
            <a:ext cx="1764196" cy="7560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ризнаки современного урока музыки </a:t>
            </a:r>
            <a:endParaRPr lang="ru-RU" sz="1600" b="1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5286380" y="2285992"/>
            <a:ext cx="977808" cy="350920"/>
          </a:xfrm>
          <a:prstGeom prst="straightConnector1">
            <a:avLst/>
          </a:prstGeom>
          <a:ln w="190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rot="16200000" flipH="1">
            <a:off x="5272368" y="3157260"/>
            <a:ext cx="933824" cy="905800"/>
          </a:xfrm>
          <a:prstGeom prst="straightConnector1">
            <a:avLst/>
          </a:prstGeom>
          <a:ln w="190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5286380" y="2928934"/>
            <a:ext cx="977808" cy="752095"/>
          </a:xfrm>
          <a:prstGeom prst="straightConnector1">
            <a:avLst/>
          </a:prstGeom>
          <a:ln w="254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5286380" y="2285992"/>
            <a:ext cx="977808" cy="26885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5286380" y="2857496"/>
            <a:ext cx="1013812" cy="211465"/>
          </a:xfrm>
          <a:prstGeom prst="straightConnector1">
            <a:avLst/>
          </a:prstGeom>
          <a:ln w="19050">
            <a:solidFill>
              <a:schemeClr val="accent6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5286380" y="3356992"/>
            <a:ext cx="941804" cy="786388"/>
          </a:xfrm>
          <a:prstGeom prst="straightConnector1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>
            <a:off x="5214942" y="4143380"/>
            <a:ext cx="1085250" cy="617768"/>
          </a:xfrm>
          <a:prstGeom prst="straightConnector1">
            <a:avLst/>
          </a:prstGeom>
          <a:ln w="22225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5286380" y="1714488"/>
            <a:ext cx="1071570" cy="71438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V="1">
            <a:off x="5688124" y="3717033"/>
            <a:ext cx="504056" cy="828092"/>
          </a:xfrm>
          <a:prstGeom prst="straightConnector1">
            <a:avLst/>
          </a:prstGeom>
          <a:ln w="1905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415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/>
        </p:nvGraphicFramePr>
        <p:xfrm>
          <a:off x="395536" y="908720"/>
          <a:ext cx="8352928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60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665109" y="288883"/>
            <a:ext cx="3276364" cy="523220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Возможности    ЭФУ</a:t>
            </a:r>
            <a:endParaRPr lang="ru-RU" sz="280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2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5" name="Picture 22" descr="Каталог сайтов - Персональный сайт учителя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066" y="5254649"/>
            <a:ext cx="1357298" cy="1357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61</a:t>
            </a:fld>
            <a:endParaRPr lang="ru-RU"/>
          </a:p>
        </p:txBody>
      </p:sp>
      <p:pic>
        <p:nvPicPr>
          <p:cNvPr id="3" name="Picture 2" descr="E:\USERS\ZubairovaOV\Desktop\3 августа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87792" y="398421"/>
            <a:ext cx="4968552" cy="61242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Содержимое 3"/>
          <p:cNvSpPr>
            <a:spLocks noGrp="1"/>
          </p:cNvSpPr>
          <p:nvPr/>
        </p:nvSpPr>
        <p:spPr>
          <a:xfrm>
            <a:off x="409518" y="1165195"/>
            <a:ext cx="3854232" cy="48817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>
              <a:spcBef>
                <a:spcPts val="0"/>
              </a:spcBef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педагогически обоснованное для усвоения материала учебника количество мультимедийных </a:t>
            </a:r>
            <a:endParaRPr lang="en-US" sz="1800" dirty="0" smtClean="0">
              <a:latin typeface="Times New Roman" pitchFamily="18" charset="0"/>
              <a:cs typeface="Times New Roman" pitchFamily="18" charset="0"/>
            </a:endParaRPr>
          </a:p>
          <a:p>
            <a:pPr marL="288000">
              <a:spcBef>
                <a:spcPts val="0"/>
              </a:spcBef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и/или интерактивных элементов:</a:t>
            </a:r>
          </a:p>
          <a:p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галереи изображений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аудиофрагменты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видеоролики;</a:t>
            </a:r>
            <a:endParaRPr lang="en-US" sz="18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презентации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анимационные ролики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интерактивные карты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тренажеры;</a:t>
            </a:r>
          </a:p>
          <a:p>
            <a:pPr>
              <a:buFont typeface="Wingdings" pitchFamily="2" charset="2"/>
              <a:buChar char="ü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и иное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>
            <a:spLocks noGrp="1"/>
          </p:cNvSpPr>
          <p:nvPr/>
        </p:nvSpPr>
        <p:spPr>
          <a:xfrm>
            <a:off x="190440" y="288881"/>
            <a:ext cx="5000660" cy="5825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ппарат  ЭФУ  содержит</a:t>
            </a:r>
            <a:endParaRPr lang="ru-RU" sz="2400" b="1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62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103266" y="325395"/>
            <a:ext cx="7193061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FF0000"/>
                </a:solidFill>
              </a:rPr>
              <a:t>Проектирование урока </a:t>
            </a:r>
            <a:r>
              <a:rPr lang="ru-RU" b="1" smtClean="0">
                <a:solidFill>
                  <a:srgbClr val="FF0000"/>
                </a:solidFill>
              </a:rPr>
              <a:t>музыки  с </a:t>
            </a:r>
            <a:r>
              <a:rPr lang="ru-RU" b="1" dirty="0" smtClean="0">
                <a:solidFill>
                  <a:srgbClr val="FF0000"/>
                </a:solidFill>
              </a:rPr>
              <a:t>использованием ЭФУ</a:t>
            </a:r>
            <a:endParaRPr lang="ru-RU" b="1" dirty="0">
              <a:solidFill>
                <a:srgbClr val="FF0000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299981" y="946116"/>
            <a:ext cx="8617067" cy="5328997"/>
            <a:chOff x="302982" y="980728"/>
            <a:chExt cx="8617067" cy="5328997"/>
          </a:xfrm>
        </p:grpSpPr>
        <p:sp>
          <p:nvSpPr>
            <p:cNvPr id="7" name="Полилиния 6"/>
            <p:cNvSpPr/>
            <p:nvPr/>
          </p:nvSpPr>
          <p:spPr>
            <a:xfrm>
              <a:off x="302982" y="980728"/>
              <a:ext cx="1581455" cy="1844675"/>
            </a:xfrm>
            <a:custGeom>
              <a:avLst/>
              <a:gdLst>
                <a:gd name="connsiteX0" fmla="*/ 0 w 1581455"/>
                <a:gd name="connsiteY0" fmla="*/ 158146 h 1844675"/>
                <a:gd name="connsiteX1" fmla="*/ 46320 w 1581455"/>
                <a:gd name="connsiteY1" fmla="*/ 46320 h 1844675"/>
                <a:gd name="connsiteX2" fmla="*/ 158146 w 1581455"/>
                <a:gd name="connsiteY2" fmla="*/ 0 h 1844675"/>
                <a:gd name="connsiteX3" fmla="*/ 1423309 w 1581455"/>
                <a:gd name="connsiteY3" fmla="*/ 0 h 1844675"/>
                <a:gd name="connsiteX4" fmla="*/ 1535135 w 1581455"/>
                <a:gd name="connsiteY4" fmla="*/ 46320 h 1844675"/>
                <a:gd name="connsiteX5" fmla="*/ 1581455 w 1581455"/>
                <a:gd name="connsiteY5" fmla="*/ 158146 h 1844675"/>
                <a:gd name="connsiteX6" fmla="*/ 1581455 w 1581455"/>
                <a:gd name="connsiteY6" fmla="*/ 1686529 h 1844675"/>
                <a:gd name="connsiteX7" fmla="*/ 1535135 w 1581455"/>
                <a:gd name="connsiteY7" fmla="*/ 1798355 h 1844675"/>
                <a:gd name="connsiteX8" fmla="*/ 1423309 w 1581455"/>
                <a:gd name="connsiteY8" fmla="*/ 1844675 h 1844675"/>
                <a:gd name="connsiteX9" fmla="*/ 158146 w 1581455"/>
                <a:gd name="connsiteY9" fmla="*/ 1844675 h 1844675"/>
                <a:gd name="connsiteX10" fmla="*/ 46320 w 1581455"/>
                <a:gd name="connsiteY10" fmla="*/ 1798355 h 1844675"/>
                <a:gd name="connsiteX11" fmla="*/ 0 w 1581455"/>
                <a:gd name="connsiteY11" fmla="*/ 1686529 h 1844675"/>
                <a:gd name="connsiteX12" fmla="*/ 0 w 1581455"/>
                <a:gd name="connsiteY12" fmla="*/ 158146 h 184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81455" h="1844675">
                  <a:moveTo>
                    <a:pt x="0" y="158146"/>
                  </a:moveTo>
                  <a:cubicBezTo>
                    <a:pt x="0" y="116203"/>
                    <a:pt x="16662" y="75978"/>
                    <a:pt x="46320" y="46320"/>
                  </a:cubicBezTo>
                  <a:cubicBezTo>
                    <a:pt x="75978" y="16662"/>
                    <a:pt x="116203" y="0"/>
                    <a:pt x="158146" y="0"/>
                  </a:cubicBezTo>
                  <a:lnTo>
                    <a:pt x="1423309" y="0"/>
                  </a:lnTo>
                  <a:cubicBezTo>
                    <a:pt x="1465252" y="0"/>
                    <a:pt x="1505477" y="16662"/>
                    <a:pt x="1535135" y="46320"/>
                  </a:cubicBezTo>
                  <a:cubicBezTo>
                    <a:pt x="1564793" y="75978"/>
                    <a:pt x="1581455" y="116203"/>
                    <a:pt x="1581455" y="158146"/>
                  </a:cubicBezTo>
                  <a:lnTo>
                    <a:pt x="1581455" y="1686529"/>
                  </a:lnTo>
                  <a:cubicBezTo>
                    <a:pt x="1581455" y="1728472"/>
                    <a:pt x="1564793" y="1768697"/>
                    <a:pt x="1535135" y="1798355"/>
                  </a:cubicBezTo>
                  <a:cubicBezTo>
                    <a:pt x="1505477" y="1828013"/>
                    <a:pt x="1465252" y="1844675"/>
                    <a:pt x="1423309" y="1844675"/>
                  </a:cubicBezTo>
                  <a:lnTo>
                    <a:pt x="158146" y="1844675"/>
                  </a:lnTo>
                  <a:cubicBezTo>
                    <a:pt x="116203" y="1844675"/>
                    <a:pt x="75978" y="1828013"/>
                    <a:pt x="46320" y="1798355"/>
                  </a:cubicBezTo>
                  <a:cubicBezTo>
                    <a:pt x="16662" y="1768697"/>
                    <a:pt x="0" y="1728472"/>
                    <a:pt x="0" y="1686529"/>
                  </a:cubicBezTo>
                  <a:lnTo>
                    <a:pt x="0" y="158146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2"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28016" tIns="128016" rIns="128016" bIns="683472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 smtClean="0">
                  <a:latin typeface="Times New Roman" pitchFamily="18" charset="0"/>
                  <a:cs typeface="Times New Roman" pitchFamily="18" charset="0"/>
                </a:rPr>
                <a:t>На этапе </a:t>
              </a:r>
              <a:r>
                <a:rPr lang="ru-RU" sz="1800" b="1" kern="1200" dirty="0" smtClean="0">
                  <a:latin typeface="Times New Roman" pitchFamily="18" charset="0"/>
                  <a:cs typeface="Times New Roman" pitchFamily="18" charset="0"/>
                </a:rPr>
                <a:t>мотивации,</a:t>
              </a:r>
              <a:r>
                <a:rPr lang="ru-RU" sz="1800" kern="1200" dirty="0" smtClean="0">
                  <a:latin typeface="Times New Roman" pitchFamily="18" charset="0"/>
                  <a:cs typeface="Times New Roman" pitchFamily="18" charset="0"/>
                </a:rPr>
                <a:t> постановки проблемы и включения в учебную деятельность</a:t>
              </a:r>
              <a:endParaRPr lang="ru-RU" sz="18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323528" y="3284983"/>
              <a:ext cx="1944216" cy="2736439"/>
            </a:xfrm>
            <a:custGeom>
              <a:avLst/>
              <a:gdLst>
                <a:gd name="connsiteX0" fmla="*/ 0 w 1748416"/>
                <a:gd name="connsiteY0" fmla="*/ 174842 h 1963957"/>
                <a:gd name="connsiteX1" fmla="*/ 51210 w 1748416"/>
                <a:gd name="connsiteY1" fmla="*/ 51210 h 1963957"/>
                <a:gd name="connsiteX2" fmla="*/ 174842 w 1748416"/>
                <a:gd name="connsiteY2" fmla="*/ 0 h 1963957"/>
                <a:gd name="connsiteX3" fmla="*/ 1573574 w 1748416"/>
                <a:gd name="connsiteY3" fmla="*/ 0 h 1963957"/>
                <a:gd name="connsiteX4" fmla="*/ 1697206 w 1748416"/>
                <a:gd name="connsiteY4" fmla="*/ 51210 h 1963957"/>
                <a:gd name="connsiteX5" fmla="*/ 1748416 w 1748416"/>
                <a:gd name="connsiteY5" fmla="*/ 174842 h 1963957"/>
                <a:gd name="connsiteX6" fmla="*/ 1748416 w 1748416"/>
                <a:gd name="connsiteY6" fmla="*/ 1789115 h 1963957"/>
                <a:gd name="connsiteX7" fmla="*/ 1697206 w 1748416"/>
                <a:gd name="connsiteY7" fmla="*/ 1912747 h 1963957"/>
                <a:gd name="connsiteX8" fmla="*/ 1573574 w 1748416"/>
                <a:gd name="connsiteY8" fmla="*/ 1963957 h 1963957"/>
                <a:gd name="connsiteX9" fmla="*/ 174842 w 1748416"/>
                <a:gd name="connsiteY9" fmla="*/ 1963957 h 1963957"/>
                <a:gd name="connsiteX10" fmla="*/ 51210 w 1748416"/>
                <a:gd name="connsiteY10" fmla="*/ 1912747 h 1963957"/>
                <a:gd name="connsiteX11" fmla="*/ 0 w 1748416"/>
                <a:gd name="connsiteY11" fmla="*/ 1789115 h 1963957"/>
                <a:gd name="connsiteX12" fmla="*/ 0 w 1748416"/>
                <a:gd name="connsiteY12" fmla="*/ 174842 h 1963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8416" h="1963957">
                  <a:moveTo>
                    <a:pt x="0" y="174842"/>
                  </a:moveTo>
                  <a:cubicBezTo>
                    <a:pt x="0" y="128471"/>
                    <a:pt x="18421" y="83999"/>
                    <a:pt x="51210" y="51210"/>
                  </a:cubicBezTo>
                  <a:cubicBezTo>
                    <a:pt x="83999" y="18421"/>
                    <a:pt x="128471" y="0"/>
                    <a:pt x="174842" y="0"/>
                  </a:cubicBezTo>
                  <a:lnTo>
                    <a:pt x="1573574" y="0"/>
                  </a:lnTo>
                  <a:cubicBezTo>
                    <a:pt x="1619945" y="0"/>
                    <a:pt x="1664417" y="18421"/>
                    <a:pt x="1697206" y="51210"/>
                  </a:cubicBezTo>
                  <a:cubicBezTo>
                    <a:pt x="1729995" y="83999"/>
                    <a:pt x="1748416" y="128471"/>
                    <a:pt x="1748416" y="174842"/>
                  </a:cubicBezTo>
                  <a:lnTo>
                    <a:pt x="1748416" y="1789115"/>
                  </a:lnTo>
                  <a:cubicBezTo>
                    <a:pt x="1748416" y="1835486"/>
                    <a:pt x="1729995" y="1879958"/>
                    <a:pt x="1697206" y="1912747"/>
                  </a:cubicBezTo>
                  <a:cubicBezTo>
                    <a:pt x="1664417" y="1945536"/>
                    <a:pt x="1619945" y="1963957"/>
                    <a:pt x="1573574" y="1963957"/>
                  </a:cubicBezTo>
                  <a:lnTo>
                    <a:pt x="174842" y="1963957"/>
                  </a:lnTo>
                  <a:cubicBezTo>
                    <a:pt x="128471" y="1963957"/>
                    <a:pt x="83999" y="1945536"/>
                    <a:pt x="51210" y="1912747"/>
                  </a:cubicBezTo>
                  <a:cubicBezTo>
                    <a:pt x="18421" y="1879958"/>
                    <a:pt x="0" y="1835486"/>
                    <a:pt x="0" y="1789115"/>
                  </a:cubicBezTo>
                  <a:lnTo>
                    <a:pt x="0" y="174842"/>
                  </a:lnTo>
                  <a:close/>
                </a:path>
              </a:pathLst>
            </a:custGeom>
          </p:spPr>
          <p:style>
            <a:lnRef idx="1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0777" tIns="150777" rIns="150777" bIns="150777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Видеофильмы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анимация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загадки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формулирование ключевого вопроса при работе с иллюстративным и музыкальным материалом раздела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400" kern="1200" dirty="0"/>
            </a:p>
          </p:txBody>
        </p:sp>
        <p:sp>
          <p:nvSpPr>
            <p:cNvPr id="9" name="Полилиния 8"/>
            <p:cNvSpPr/>
            <p:nvPr/>
          </p:nvSpPr>
          <p:spPr>
            <a:xfrm rot="3914043">
              <a:off x="1296537" y="2897463"/>
              <a:ext cx="572508" cy="497161"/>
            </a:xfrm>
            <a:custGeom>
              <a:avLst/>
              <a:gdLst>
                <a:gd name="connsiteX0" fmla="*/ 0 w 572508"/>
                <a:gd name="connsiteY0" fmla="*/ 99432 h 497161"/>
                <a:gd name="connsiteX1" fmla="*/ 323928 w 572508"/>
                <a:gd name="connsiteY1" fmla="*/ 99432 h 497161"/>
                <a:gd name="connsiteX2" fmla="*/ 323928 w 572508"/>
                <a:gd name="connsiteY2" fmla="*/ 0 h 497161"/>
                <a:gd name="connsiteX3" fmla="*/ 572508 w 572508"/>
                <a:gd name="connsiteY3" fmla="*/ 248581 h 497161"/>
                <a:gd name="connsiteX4" fmla="*/ 323928 w 572508"/>
                <a:gd name="connsiteY4" fmla="*/ 497161 h 497161"/>
                <a:gd name="connsiteX5" fmla="*/ 323928 w 572508"/>
                <a:gd name="connsiteY5" fmla="*/ 397729 h 497161"/>
                <a:gd name="connsiteX6" fmla="*/ 0 w 572508"/>
                <a:gd name="connsiteY6" fmla="*/ 397729 h 497161"/>
                <a:gd name="connsiteX7" fmla="*/ 0 w 572508"/>
                <a:gd name="connsiteY7" fmla="*/ 99432 h 497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2508" h="497161">
                  <a:moveTo>
                    <a:pt x="0" y="99432"/>
                  </a:moveTo>
                  <a:lnTo>
                    <a:pt x="323928" y="99432"/>
                  </a:lnTo>
                  <a:lnTo>
                    <a:pt x="323928" y="0"/>
                  </a:lnTo>
                  <a:lnTo>
                    <a:pt x="572508" y="248581"/>
                  </a:lnTo>
                  <a:lnTo>
                    <a:pt x="323928" y="497161"/>
                  </a:lnTo>
                  <a:lnTo>
                    <a:pt x="323928" y="397729"/>
                  </a:lnTo>
                  <a:lnTo>
                    <a:pt x="0" y="397729"/>
                  </a:lnTo>
                  <a:lnTo>
                    <a:pt x="0" y="99432"/>
                  </a:ln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2"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0" tIns="99431" rIns="149147" bIns="99432" numCol="1" spcCol="1270" anchor="ctr" anchorCtr="0">
              <a:noAutofit/>
            </a:bodyPr>
            <a:lstStyle/>
            <a:p>
              <a:pPr lvl="0"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400" kern="1200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2517328" y="980728"/>
              <a:ext cx="1910656" cy="1872208"/>
            </a:xfrm>
            <a:custGeom>
              <a:avLst/>
              <a:gdLst>
                <a:gd name="connsiteX0" fmla="*/ 0 w 1668671"/>
                <a:gd name="connsiteY0" fmla="*/ 166867 h 1784644"/>
                <a:gd name="connsiteX1" fmla="*/ 48874 w 1668671"/>
                <a:gd name="connsiteY1" fmla="*/ 48874 h 1784644"/>
                <a:gd name="connsiteX2" fmla="*/ 166867 w 1668671"/>
                <a:gd name="connsiteY2" fmla="*/ 0 h 1784644"/>
                <a:gd name="connsiteX3" fmla="*/ 1501804 w 1668671"/>
                <a:gd name="connsiteY3" fmla="*/ 0 h 1784644"/>
                <a:gd name="connsiteX4" fmla="*/ 1619797 w 1668671"/>
                <a:gd name="connsiteY4" fmla="*/ 48874 h 1784644"/>
                <a:gd name="connsiteX5" fmla="*/ 1668671 w 1668671"/>
                <a:gd name="connsiteY5" fmla="*/ 166867 h 1784644"/>
                <a:gd name="connsiteX6" fmla="*/ 1668671 w 1668671"/>
                <a:gd name="connsiteY6" fmla="*/ 1617777 h 1784644"/>
                <a:gd name="connsiteX7" fmla="*/ 1619797 w 1668671"/>
                <a:gd name="connsiteY7" fmla="*/ 1735770 h 1784644"/>
                <a:gd name="connsiteX8" fmla="*/ 1501804 w 1668671"/>
                <a:gd name="connsiteY8" fmla="*/ 1784644 h 1784644"/>
                <a:gd name="connsiteX9" fmla="*/ 166867 w 1668671"/>
                <a:gd name="connsiteY9" fmla="*/ 1784644 h 1784644"/>
                <a:gd name="connsiteX10" fmla="*/ 48874 w 1668671"/>
                <a:gd name="connsiteY10" fmla="*/ 1735770 h 1784644"/>
                <a:gd name="connsiteX11" fmla="*/ 0 w 1668671"/>
                <a:gd name="connsiteY11" fmla="*/ 1617777 h 1784644"/>
                <a:gd name="connsiteX12" fmla="*/ 0 w 1668671"/>
                <a:gd name="connsiteY12" fmla="*/ 166867 h 1784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668671" h="1784644">
                  <a:moveTo>
                    <a:pt x="0" y="166867"/>
                  </a:moveTo>
                  <a:cubicBezTo>
                    <a:pt x="0" y="122611"/>
                    <a:pt x="17581" y="80168"/>
                    <a:pt x="48874" y="48874"/>
                  </a:cubicBezTo>
                  <a:cubicBezTo>
                    <a:pt x="80168" y="17580"/>
                    <a:pt x="122611" y="0"/>
                    <a:pt x="166867" y="0"/>
                  </a:cubicBezTo>
                  <a:lnTo>
                    <a:pt x="1501804" y="0"/>
                  </a:lnTo>
                  <a:cubicBezTo>
                    <a:pt x="1546060" y="0"/>
                    <a:pt x="1588503" y="17581"/>
                    <a:pt x="1619797" y="48874"/>
                  </a:cubicBezTo>
                  <a:cubicBezTo>
                    <a:pt x="1651091" y="80168"/>
                    <a:pt x="1668671" y="122611"/>
                    <a:pt x="1668671" y="166867"/>
                  </a:cubicBezTo>
                  <a:lnTo>
                    <a:pt x="1668671" y="1617777"/>
                  </a:lnTo>
                  <a:cubicBezTo>
                    <a:pt x="1668671" y="1662033"/>
                    <a:pt x="1651090" y="1704476"/>
                    <a:pt x="1619797" y="1735770"/>
                  </a:cubicBezTo>
                  <a:cubicBezTo>
                    <a:pt x="1588503" y="1767064"/>
                    <a:pt x="1546060" y="1784644"/>
                    <a:pt x="1501804" y="1784644"/>
                  </a:cubicBezTo>
                  <a:lnTo>
                    <a:pt x="166867" y="1784644"/>
                  </a:lnTo>
                  <a:cubicBezTo>
                    <a:pt x="122611" y="1784644"/>
                    <a:pt x="80168" y="1767063"/>
                    <a:pt x="48874" y="1735770"/>
                  </a:cubicBezTo>
                  <a:cubicBezTo>
                    <a:pt x="17580" y="1704476"/>
                    <a:pt x="0" y="1662033"/>
                    <a:pt x="0" y="1617777"/>
                  </a:cubicBezTo>
                  <a:lnTo>
                    <a:pt x="0" y="166867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13792" tIns="113792" rIns="113792" bIns="655841" numCol="1" spcCol="1270" anchor="t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0" kern="1200" dirty="0" smtClean="0">
                  <a:latin typeface="Times New Roman" pitchFamily="18" charset="0"/>
                  <a:cs typeface="Times New Roman" pitchFamily="18" charset="0"/>
                </a:rPr>
                <a:t>На этапе </a:t>
              </a:r>
              <a:r>
                <a:rPr lang="ru-RU" b="1" kern="1200" dirty="0" smtClean="0">
                  <a:latin typeface="Times New Roman" pitchFamily="18" charset="0"/>
                  <a:cs typeface="Times New Roman" pitchFamily="18" charset="0"/>
                </a:rPr>
                <a:t>восприятия,</a:t>
              </a:r>
              <a:r>
                <a:rPr lang="ru-RU" kern="1200" dirty="0" smtClean="0">
                  <a:latin typeface="Times New Roman" pitchFamily="18" charset="0"/>
                  <a:cs typeface="Times New Roman" pitchFamily="18" charset="0"/>
                </a:rPr>
                <a:t> изучения нового и создания условий для осознанного восприятия </a:t>
              </a:r>
              <a:endParaRPr lang="ru-RU" sz="6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2381221" y="3282948"/>
              <a:ext cx="2117754" cy="2848014"/>
            </a:xfrm>
            <a:custGeom>
              <a:avLst/>
              <a:gdLst>
                <a:gd name="connsiteX0" fmla="*/ 0 w 1803325"/>
                <a:gd name="connsiteY0" fmla="*/ 53867 h 538672"/>
                <a:gd name="connsiteX1" fmla="*/ 15777 w 1803325"/>
                <a:gd name="connsiteY1" fmla="*/ 15777 h 538672"/>
                <a:gd name="connsiteX2" fmla="*/ 53867 w 1803325"/>
                <a:gd name="connsiteY2" fmla="*/ 0 h 538672"/>
                <a:gd name="connsiteX3" fmla="*/ 1749458 w 1803325"/>
                <a:gd name="connsiteY3" fmla="*/ 0 h 538672"/>
                <a:gd name="connsiteX4" fmla="*/ 1787548 w 1803325"/>
                <a:gd name="connsiteY4" fmla="*/ 15777 h 538672"/>
                <a:gd name="connsiteX5" fmla="*/ 1803325 w 1803325"/>
                <a:gd name="connsiteY5" fmla="*/ 53867 h 538672"/>
                <a:gd name="connsiteX6" fmla="*/ 1803325 w 1803325"/>
                <a:gd name="connsiteY6" fmla="*/ 484805 h 538672"/>
                <a:gd name="connsiteX7" fmla="*/ 1787548 w 1803325"/>
                <a:gd name="connsiteY7" fmla="*/ 522895 h 538672"/>
                <a:gd name="connsiteX8" fmla="*/ 1749458 w 1803325"/>
                <a:gd name="connsiteY8" fmla="*/ 538672 h 538672"/>
                <a:gd name="connsiteX9" fmla="*/ 53867 w 1803325"/>
                <a:gd name="connsiteY9" fmla="*/ 538672 h 538672"/>
                <a:gd name="connsiteX10" fmla="*/ 15777 w 1803325"/>
                <a:gd name="connsiteY10" fmla="*/ 522895 h 538672"/>
                <a:gd name="connsiteX11" fmla="*/ 0 w 1803325"/>
                <a:gd name="connsiteY11" fmla="*/ 484805 h 538672"/>
                <a:gd name="connsiteX12" fmla="*/ 0 w 1803325"/>
                <a:gd name="connsiteY12" fmla="*/ 53867 h 538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03325" h="538672">
                  <a:moveTo>
                    <a:pt x="0" y="53867"/>
                  </a:moveTo>
                  <a:cubicBezTo>
                    <a:pt x="0" y="39581"/>
                    <a:pt x="5675" y="25879"/>
                    <a:pt x="15777" y="15777"/>
                  </a:cubicBezTo>
                  <a:cubicBezTo>
                    <a:pt x="25879" y="5675"/>
                    <a:pt x="39580" y="0"/>
                    <a:pt x="53867" y="0"/>
                  </a:cubicBezTo>
                  <a:lnTo>
                    <a:pt x="1749458" y="0"/>
                  </a:lnTo>
                  <a:cubicBezTo>
                    <a:pt x="1763744" y="0"/>
                    <a:pt x="1777446" y="5675"/>
                    <a:pt x="1787548" y="15777"/>
                  </a:cubicBezTo>
                  <a:cubicBezTo>
                    <a:pt x="1797650" y="25879"/>
                    <a:pt x="1803325" y="39580"/>
                    <a:pt x="1803325" y="53867"/>
                  </a:cubicBezTo>
                  <a:lnTo>
                    <a:pt x="1803325" y="484805"/>
                  </a:lnTo>
                  <a:cubicBezTo>
                    <a:pt x="1803325" y="499091"/>
                    <a:pt x="1797650" y="512793"/>
                    <a:pt x="1787548" y="522895"/>
                  </a:cubicBezTo>
                  <a:cubicBezTo>
                    <a:pt x="1777446" y="532997"/>
                    <a:pt x="1763745" y="538672"/>
                    <a:pt x="1749458" y="538672"/>
                  </a:cubicBezTo>
                  <a:lnTo>
                    <a:pt x="53867" y="538672"/>
                  </a:lnTo>
                  <a:cubicBezTo>
                    <a:pt x="39581" y="538672"/>
                    <a:pt x="25879" y="532997"/>
                    <a:pt x="15777" y="522895"/>
                  </a:cubicBezTo>
                  <a:cubicBezTo>
                    <a:pt x="5675" y="512793"/>
                    <a:pt x="0" y="499092"/>
                    <a:pt x="0" y="484805"/>
                  </a:cubicBezTo>
                  <a:lnTo>
                    <a:pt x="0" y="53867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15345" tIns="115345" rIns="115345" bIns="115345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§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Работа  с основным содержанием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§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ru-RU" sz="1600" kern="1200" dirty="0" err="1" smtClean="0">
                  <a:latin typeface="Times New Roman" pitchFamily="18" charset="0"/>
                  <a:cs typeface="Times New Roman" pitchFamily="18" charset="0"/>
                </a:rPr>
                <a:t>мультимедийный</a:t>
              </a: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 объект (анимация, видеоролик, галерея изображений, виртуальные путешествия)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§"/>
              </a:pPr>
              <a:r>
                <a:rPr lang="ru-RU" sz="1600" dirty="0" smtClean="0">
                  <a:latin typeface="Times New Roman" pitchFamily="18" charset="0"/>
                  <a:cs typeface="Times New Roman" pitchFamily="18" charset="0"/>
                </a:rPr>
                <a:t>дополнительные справочные материалы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Полилиния 11"/>
            <p:cNvSpPr/>
            <p:nvPr/>
          </p:nvSpPr>
          <p:spPr>
            <a:xfrm rot="4930716">
              <a:off x="3547723" y="2934342"/>
              <a:ext cx="567215" cy="461994"/>
            </a:xfrm>
            <a:custGeom>
              <a:avLst/>
              <a:gdLst>
                <a:gd name="connsiteX0" fmla="*/ 0 w 349746"/>
                <a:gd name="connsiteY0" fmla="*/ 92399 h 461994"/>
                <a:gd name="connsiteX1" fmla="*/ 174873 w 349746"/>
                <a:gd name="connsiteY1" fmla="*/ 92399 h 461994"/>
                <a:gd name="connsiteX2" fmla="*/ 174873 w 349746"/>
                <a:gd name="connsiteY2" fmla="*/ 0 h 461994"/>
                <a:gd name="connsiteX3" fmla="*/ 349746 w 349746"/>
                <a:gd name="connsiteY3" fmla="*/ 230997 h 461994"/>
                <a:gd name="connsiteX4" fmla="*/ 174873 w 349746"/>
                <a:gd name="connsiteY4" fmla="*/ 461994 h 461994"/>
                <a:gd name="connsiteX5" fmla="*/ 174873 w 349746"/>
                <a:gd name="connsiteY5" fmla="*/ 369595 h 461994"/>
                <a:gd name="connsiteX6" fmla="*/ 0 w 349746"/>
                <a:gd name="connsiteY6" fmla="*/ 369595 h 461994"/>
                <a:gd name="connsiteX7" fmla="*/ 0 w 349746"/>
                <a:gd name="connsiteY7" fmla="*/ 92399 h 46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9746" h="461994">
                  <a:moveTo>
                    <a:pt x="0" y="92399"/>
                  </a:moveTo>
                  <a:lnTo>
                    <a:pt x="174873" y="92399"/>
                  </a:lnTo>
                  <a:lnTo>
                    <a:pt x="174873" y="0"/>
                  </a:lnTo>
                  <a:lnTo>
                    <a:pt x="349746" y="230997"/>
                  </a:lnTo>
                  <a:lnTo>
                    <a:pt x="174873" y="461994"/>
                  </a:lnTo>
                  <a:lnTo>
                    <a:pt x="174873" y="369595"/>
                  </a:lnTo>
                  <a:lnTo>
                    <a:pt x="0" y="369595"/>
                  </a:lnTo>
                  <a:lnTo>
                    <a:pt x="0" y="92399"/>
                  </a:lnTo>
                  <a:close/>
                </a:path>
              </a:pathLst>
            </a:custGeom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3">
                <a:hueOff val="0"/>
                <a:satOff val="0"/>
                <a:lumOff val="0"/>
                <a:alphaOff val="0"/>
              </a:schemeClr>
            </a:fillRef>
            <a:effectRef idx="1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-1" tIns="92398" rIns="104924" bIns="92399" numCol="1" spcCol="1270" anchor="ctr" anchorCtr="0">
              <a:noAutofit/>
            </a:bodyPr>
            <a:lstStyle/>
            <a:p>
              <a:pPr lvl="0"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400" kern="1200"/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4712270" y="980728"/>
              <a:ext cx="1827062" cy="1827551"/>
            </a:xfrm>
            <a:custGeom>
              <a:avLst/>
              <a:gdLst>
                <a:gd name="connsiteX0" fmla="*/ 0 w 1827062"/>
                <a:gd name="connsiteY0" fmla="*/ 182706 h 2706390"/>
                <a:gd name="connsiteX1" fmla="*/ 53514 w 1827062"/>
                <a:gd name="connsiteY1" fmla="*/ 53513 h 2706390"/>
                <a:gd name="connsiteX2" fmla="*/ 182707 w 1827062"/>
                <a:gd name="connsiteY2" fmla="*/ 0 h 2706390"/>
                <a:gd name="connsiteX3" fmla="*/ 1644356 w 1827062"/>
                <a:gd name="connsiteY3" fmla="*/ 0 h 2706390"/>
                <a:gd name="connsiteX4" fmla="*/ 1773549 w 1827062"/>
                <a:gd name="connsiteY4" fmla="*/ 53514 h 2706390"/>
                <a:gd name="connsiteX5" fmla="*/ 1827062 w 1827062"/>
                <a:gd name="connsiteY5" fmla="*/ 182707 h 2706390"/>
                <a:gd name="connsiteX6" fmla="*/ 1827062 w 1827062"/>
                <a:gd name="connsiteY6" fmla="*/ 2523684 h 2706390"/>
                <a:gd name="connsiteX7" fmla="*/ 1773549 w 1827062"/>
                <a:gd name="connsiteY7" fmla="*/ 2652877 h 2706390"/>
                <a:gd name="connsiteX8" fmla="*/ 1644356 w 1827062"/>
                <a:gd name="connsiteY8" fmla="*/ 2706390 h 2706390"/>
                <a:gd name="connsiteX9" fmla="*/ 182706 w 1827062"/>
                <a:gd name="connsiteY9" fmla="*/ 2706390 h 2706390"/>
                <a:gd name="connsiteX10" fmla="*/ 53513 w 1827062"/>
                <a:gd name="connsiteY10" fmla="*/ 2652877 h 2706390"/>
                <a:gd name="connsiteX11" fmla="*/ 0 w 1827062"/>
                <a:gd name="connsiteY11" fmla="*/ 2523684 h 2706390"/>
                <a:gd name="connsiteX12" fmla="*/ 0 w 1827062"/>
                <a:gd name="connsiteY12" fmla="*/ 182706 h 2706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27062" h="2706390">
                  <a:moveTo>
                    <a:pt x="0" y="182706"/>
                  </a:moveTo>
                  <a:cubicBezTo>
                    <a:pt x="0" y="134249"/>
                    <a:pt x="19249" y="87777"/>
                    <a:pt x="53514" y="53513"/>
                  </a:cubicBezTo>
                  <a:cubicBezTo>
                    <a:pt x="87778" y="19249"/>
                    <a:pt x="134250" y="0"/>
                    <a:pt x="182707" y="0"/>
                  </a:cubicBezTo>
                  <a:lnTo>
                    <a:pt x="1644356" y="0"/>
                  </a:lnTo>
                  <a:cubicBezTo>
                    <a:pt x="1692813" y="0"/>
                    <a:pt x="1739285" y="19249"/>
                    <a:pt x="1773549" y="53514"/>
                  </a:cubicBezTo>
                  <a:cubicBezTo>
                    <a:pt x="1807813" y="87778"/>
                    <a:pt x="1827062" y="134250"/>
                    <a:pt x="1827062" y="182707"/>
                  </a:cubicBezTo>
                  <a:lnTo>
                    <a:pt x="1827062" y="2523684"/>
                  </a:lnTo>
                  <a:cubicBezTo>
                    <a:pt x="1827062" y="2572141"/>
                    <a:pt x="1807813" y="2618613"/>
                    <a:pt x="1773549" y="2652877"/>
                  </a:cubicBezTo>
                  <a:cubicBezTo>
                    <a:pt x="1739285" y="2687141"/>
                    <a:pt x="1692813" y="2706390"/>
                    <a:pt x="1644356" y="2706390"/>
                  </a:cubicBezTo>
                  <a:lnTo>
                    <a:pt x="182706" y="2706390"/>
                  </a:lnTo>
                  <a:cubicBezTo>
                    <a:pt x="134249" y="2706390"/>
                    <a:pt x="87777" y="2687141"/>
                    <a:pt x="53513" y="2652877"/>
                  </a:cubicBezTo>
                  <a:cubicBezTo>
                    <a:pt x="19249" y="2618613"/>
                    <a:pt x="0" y="2572141"/>
                    <a:pt x="0" y="2523684"/>
                  </a:cubicBezTo>
                  <a:lnTo>
                    <a:pt x="0" y="182706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4">
                <a:hueOff val="0"/>
                <a:satOff val="0"/>
                <a:lumOff val="0"/>
                <a:alphaOff val="0"/>
              </a:schemeClr>
            </a:fillRef>
            <a:effectRef idx="1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28016" tIns="128016" rIns="128016" bIns="97071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 smtClean="0">
                  <a:latin typeface="Times New Roman" pitchFamily="18" charset="0"/>
                  <a:cs typeface="Times New Roman" pitchFamily="18" charset="0"/>
                </a:rPr>
                <a:t>На этапе первичного </a:t>
              </a:r>
              <a:r>
                <a:rPr lang="ru-RU" sz="1800" b="1" kern="1200" dirty="0" smtClean="0">
                  <a:latin typeface="Times New Roman" pitchFamily="18" charset="0"/>
                  <a:cs typeface="Times New Roman" pitchFamily="18" charset="0"/>
                </a:rPr>
                <a:t>закрепления </a:t>
              </a:r>
              <a:r>
                <a:rPr lang="ru-RU" sz="1800" kern="1200" dirty="0" smtClean="0">
                  <a:latin typeface="Times New Roman" pitchFamily="18" charset="0"/>
                  <a:cs typeface="Times New Roman" pitchFamily="18" charset="0"/>
                </a:rPr>
                <a:t>и/или закрепления изученного материала</a:t>
              </a:r>
              <a:endParaRPr lang="ru-RU" sz="1800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4721055" y="3098482"/>
              <a:ext cx="1792140" cy="3211243"/>
            </a:xfrm>
            <a:custGeom>
              <a:avLst/>
              <a:gdLst>
                <a:gd name="connsiteX0" fmla="*/ 0 w 1840177"/>
                <a:gd name="connsiteY0" fmla="*/ 184018 h 2119260"/>
                <a:gd name="connsiteX1" fmla="*/ 53898 w 1840177"/>
                <a:gd name="connsiteY1" fmla="*/ 53898 h 2119260"/>
                <a:gd name="connsiteX2" fmla="*/ 184019 w 1840177"/>
                <a:gd name="connsiteY2" fmla="*/ 1 h 2119260"/>
                <a:gd name="connsiteX3" fmla="*/ 1656159 w 1840177"/>
                <a:gd name="connsiteY3" fmla="*/ 0 h 2119260"/>
                <a:gd name="connsiteX4" fmla="*/ 1786279 w 1840177"/>
                <a:gd name="connsiteY4" fmla="*/ 53898 h 2119260"/>
                <a:gd name="connsiteX5" fmla="*/ 1840176 w 1840177"/>
                <a:gd name="connsiteY5" fmla="*/ 184019 h 2119260"/>
                <a:gd name="connsiteX6" fmla="*/ 1840177 w 1840177"/>
                <a:gd name="connsiteY6" fmla="*/ 1935242 h 2119260"/>
                <a:gd name="connsiteX7" fmla="*/ 1786279 w 1840177"/>
                <a:gd name="connsiteY7" fmla="*/ 2065362 h 2119260"/>
                <a:gd name="connsiteX8" fmla="*/ 1656159 w 1840177"/>
                <a:gd name="connsiteY8" fmla="*/ 2119260 h 2119260"/>
                <a:gd name="connsiteX9" fmla="*/ 184018 w 1840177"/>
                <a:gd name="connsiteY9" fmla="*/ 2119260 h 2119260"/>
                <a:gd name="connsiteX10" fmla="*/ 53898 w 1840177"/>
                <a:gd name="connsiteY10" fmla="*/ 2065362 h 2119260"/>
                <a:gd name="connsiteX11" fmla="*/ 0 w 1840177"/>
                <a:gd name="connsiteY11" fmla="*/ 1935242 h 2119260"/>
                <a:gd name="connsiteX12" fmla="*/ 0 w 1840177"/>
                <a:gd name="connsiteY12" fmla="*/ 184018 h 2119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40177" h="2119260">
                  <a:moveTo>
                    <a:pt x="0" y="184018"/>
                  </a:moveTo>
                  <a:cubicBezTo>
                    <a:pt x="0" y="135213"/>
                    <a:pt x="19388" y="88408"/>
                    <a:pt x="53898" y="53898"/>
                  </a:cubicBezTo>
                  <a:cubicBezTo>
                    <a:pt x="88408" y="19388"/>
                    <a:pt x="135214" y="0"/>
                    <a:pt x="184019" y="1"/>
                  </a:cubicBezTo>
                  <a:lnTo>
                    <a:pt x="1656159" y="0"/>
                  </a:lnTo>
                  <a:cubicBezTo>
                    <a:pt x="1704964" y="0"/>
                    <a:pt x="1751769" y="19388"/>
                    <a:pt x="1786279" y="53898"/>
                  </a:cubicBezTo>
                  <a:cubicBezTo>
                    <a:pt x="1820789" y="88408"/>
                    <a:pt x="1840177" y="135214"/>
                    <a:pt x="1840176" y="184019"/>
                  </a:cubicBezTo>
                  <a:cubicBezTo>
                    <a:pt x="1840176" y="767760"/>
                    <a:pt x="1840177" y="1351501"/>
                    <a:pt x="1840177" y="1935242"/>
                  </a:cubicBezTo>
                  <a:cubicBezTo>
                    <a:pt x="1840177" y="1984047"/>
                    <a:pt x="1820789" y="2030852"/>
                    <a:pt x="1786279" y="2065362"/>
                  </a:cubicBezTo>
                  <a:cubicBezTo>
                    <a:pt x="1751769" y="2099872"/>
                    <a:pt x="1704963" y="2119260"/>
                    <a:pt x="1656159" y="2119260"/>
                  </a:cubicBezTo>
                  <a:lnTo>
                    <a:pt x="184018" y="2119260"/>
                  </a:lnTo>
                  <a:cubicBezTo>
                    <a:pt x="135213" y="2119260"/>
                    <a:pt x="88408" y="2099872"/>
                    <a:pt x="53898" y="2065362"/>
                  </a:cubicBezTo>
                  <a:cubicBezTo>
                    <a:pt x="19388" y="2030852"/>
                    <a:pt x="0" y="1984046"/>
                    <a:pt x="0" y="1935242"/>
                  </a:cubicBezTo>
                  <a:lnTo>
                    <a:pt x="0" y="184018"/>
                  </a:lnTo>
                  <a:close/>
                </a:path>
              </a:pathLst>
            </a:custGeom>
          </p:spPr>
          <p:style>
            <a:lnRef idx="1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3465" tIns="153465" rIns="153465" bIns="153465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Игры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подготовка коллективной презентации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интерактивный кроссворд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мини-тест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Тренажеры на развитие разных видов музыкального слуха и памяти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dirty="0" smtClean="0">
                  <a:latin typeface="Times New Roman" pitchFamily="18" charset="0"/>
                  <a:cs typeface="Times New Roman" pitchFamily="18" charset="0"/>
                </a:rPr>
                <a:t>ребусы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57150" lvl="1" indent="-57150" algn="l" defTabSz="2222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500" kern="1200" dirty="0"/>
            </a:p>
          </p:txBody>
        </p:sp>
        <p:sp>
          <p:nvSpPr>
            <p:cNvPr id="15" name="Полилиния 14"/>
            <p:cNvSpPr/>
            <p:nvPr/>
          </p:nvSpPr>
          <p:spPr>
            <a:xfrm rot="2088488">
              <a:off x="7693862" y="2277986"/>
              <a:ext cx="534417" cy="229728"/>
            </a:xfrm>
            <a:custGeom>
              <a:avLst/>
              <a:gdLst>
                <a:gd name="connsiteX0" fmla="*/ 0 w 534417"/>
                <a:gd name="connsiteY0" fmla="*/ 45946 h 229728"/>
                <a:gd name="connsiteX1" fmla="*/ 419553 w 534417"/>
                <a:gd name="connsiteY1" fmla="*/ 45946 h 229728"/>
                <a:gd name="connsiteX2" fmla="*/ 419553 w 534417"/>
                <a:gd name="connsiteY2" fmla="*/ 0 h 229728"/>
                <a:gd name="connsiteX3" fmla="*/ 534417 w 534417"/>
                <a:gd name="connsiteY3" fmla="*/ 114864 h 229728"/>
                <a:gd name="connsiteX4" fmla="*/ 419553 w 534417"/>
                <a:gd name="connsiteY4" fmla="*/ 229728 h 229728"/>
                <a:gd name="connsiteX5" fmla="*/ 419553 w 534417"/>
                <a:gd name="connsiteY5" fmla="*/ 183782 h 229728"/>
                <a:gd name="connsiteX6" fmla="*/ 0 w 534417"/>
                <a:gd name="connsiteY6" fmla="*/ 183782 h 229728"/>
                <a:gd name="connsiteX7" fmla="*/ 0 w 534417"/>
                <a:gd name="connsiteY7" fmla="*/ 45946 h 229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4417" h="229728">
                  <a:moveTo>
                    <a:pt x="0" y="45946"/>
                  </a:moveTo>
                  <a:lnTo>
                    <a:pt x="419553" y="45946"/>
                  </a:lnTo>
                  <a:lnTo>
                    <a:pt x="419553" y="0"/>
                  </a:lnTo>
                  <a:lnTo>
                    <a:pt x="534417" y="114864"/>
                  </a:lnTo>
                  <a:lnTo>
                    <a:pt x="419553" y="229728"/>
                  </a:lnTo>
                  <a:lnTo>
                    <a:pt x="419553" y="183782"/>
                  </a:lnTo>
                  <a:lnTo>
                    <a:pt x="0" y="183782"/>
                  </a:lnTo>
                  <a:lnTo>
                    <a:pt x="0" y="45946"/>
                  </a:lnTo>
                  <a:close/>
                </a:path>
              </a:pathLst>
            </a:custGeom>
            <a:no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0" tIns="45945" rIns="68917" bIns="45946" numCol="1" spcCol="1270" anchor="ctr" anchorCtr="0">
              <a:noAutofit/>
            </a:bodyPr>
            <a:lstStyle/>
            <a:p>
              <a:pPr lvl="0" algn="ctr" defTabSz="177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400" kern="1200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021374" y="1126780"/>
              <a:ext cx="1440160" cy="1131903"/>
            </a:xfrm>
            <a:custGeom>
              <a:avLst/>
              <a:gdLst>
                <a:gd name="connsiteX0" fmla="*/ 0 w 1268055"/>
                <a:gd name="connsiteY0" fmla="*/ 120434 h 1204337"/>
                <a:gd name="connsiteX1" fmla="*/ 35274 w 1268055"/>
                <a:gd name="connsiteY1" fmla="*/ 35274 h 1204337"/>
                <a:gd name="connsiteX2" fmla="*/ 120434 w 1268055"/>
                <a:gd name="connsiteY2" fmla="*/ 0 h 1204337"/>
                <a:gd name="connsiteX3" fmla="*/ 1147621 w 1268055"/>
                <a:gd name="connsiteY3" fmla="*/ 0 h 1204337"/>
                <a:gd name="connsiteX4" fmla="*/ 1232781 w 1268055"/>
                <a:gd name="connsiteY4" fmla="*/ 35274 h 1204337"/>
                <a:gd name="connsiteX5" fmla="*/ 1268055 w 1268055"/>
                <a:gd name="connsiteY5" fmla="*/ 120434 h 1204337"/>
                <a:gd name="connsiteX6" fmla="*/ 1268055 w 1268055"/>
                <a:gd name="connsiteY6" fmla="*/ 1083903 h 1204337"/>
                <a:gd name="connsiteX7" fmla="*/ 1232781 w 1268055"/>
                <a:gd name="connsiteY7" fmla="*/ 1169063 h 1204337"/>
                <a:gd name="connsiteX8" fmla="*/ 1147621 w 1268055"/>
                <a:gd name="connsiteY8" fmla="*/ 1204337 h 1204337"/>
                <a:gd name="connsiteX9" fmla="*/ 120434 w 1268055"/>
                <a:gd name="connsiteY9" fmla="*/ 1204337 h 1204337"/>
                <a:gd name="connsiteX10" fmla="*/ 35274 w 1268055"/>
                <a:gd name="connsiteY10" fmla="*/ 1169063 h 1204337"/>
                <a:gd name="connsiteX11" fmla="*/ 0 w 1268055"/>
                <a:gd name="connsiteY11" fmla="*/ 1083903 h 1204337"/>
                <a:gd name="connsiteX12" fmla="*/ 0 w 1268055"/>
                <a:gd name="connsiteY12" fmla="*/ 120434 h 120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68055" h="1204337">
                  <a:moveTo>
                    <a:pt x="0" y="120434"/>
                  </a:moveTo>
                  <a:cubicBezTo>
                    <a:pt x="0" y="88493"/>
                    <a:pt x="12689" y="57860"/>
                    <a:pt x="35274" y="35274"/>
                  </a:cubicBezTo>
                  <a:cubicBezTo>
                    <a:pt x="57860" y="12688"/>
                    <a:pt x="88493" y="0"/>
                    <a:pt x="120434" y="0"/>
                  </a:cubicBezTo>
                  <a:lnTo>
                    <a:pt x="1147621" y="0"/>
                  </a:lnTo>
                  <a:cubicBezTo>
                    <a:pt x="1179562" y="0"/>
                    <a:pt x="1210195" y="12689"/>
                    <a:pt x="1232781" y="35274"/>
                  </a:cubicBezTo>
                  <a:cubicBezTo>
                    <a:pt x="1255367" y="57860"/>
                    <a:pt x="1268055" y="88493"/>
                    <a:pt x="1268055" y="120434"/>
                  </a:cubicBezTo>
                  <a:lnTo>
                    <a:pt x="1268055" y="1083903"/>
                  </a:lnTo>
                  <a:cubicBezTo>
                    <a:pt x="1268055" y="1115844"/>
                    <a:pt x="1255366" y="1146477"/>
                    <a:pt x="1232781" y="1169063"/>
                  </a:cubicBezTo>
                  <a:cubicBezTo>
                    <a:pt x="1210195" y="1191649"/>
                    <a:pt x="1179562" y="1204337"/>
                    <a:pt x="1147621" y="1204337"/>
                  </a:cubicBezTo>
                  <a:lnTo>
                    <a:pt x="120434" y="1204337"/>
                  </a:lnTo>
                  <a:cubicBezTo>
                    <a:pt x="88493" y="1204337"/>
                    <a:pt x="57860" y="1191648"/>
                    <a:pt x="35274" y="1169063"/>
                  </a:cubicBezTo>
                  <a:cubicBezTo>
                    <a:pt x="12688" y="1146477"/>
                    <a:pt x="0" y="1115844"/>
                    <a:pt x="0" y="1083903"/>
                  </a:cubicBezTo>
                  <a:lnTo>
                    <a:pt x="0" y="120434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128016" tIns="128016" rIns="128016" bIns="470026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 smtClean="0">
                  <a:latin typeface="Times New Roman" pitchFamily="18" charset="0"/>
                  <a:cs typeface="Times New Roman" pitchFamily="18" charset="0"/>
                </a:rPr>
                <a:t>На этапе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 smtClean="0">
                  <a:latin typeface="Times New Roman" pitchFamily="18" charset="0"/>
                  <a:cs typeface="Times New Roman" pitchFamily="18" charset="0"/>
                </a:rPr>
                <a:t>рефлексии и контроля</a:t>
              </a:r>
              <a:endParaRPr lang="ru-RU" sz="1800" b="1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6692756" y="2806377"/>
              <a:ext cx="2227293" cy="3103605"/>
            </a:xfrm>
            <a:custGeom>
              <a:avLst/>
              <a:gdLst>
                <a:gd name="connsiteX0" fmla="*/ 0 w 1706826"/>
                <a:gd name="connsiteY0" fmla="*/ 170683 h 3768660"/>
                <a:gd name="connsiteX1" fmla="*/ 49992 w 1706826"/>
                <a:gd name="connsiteY1" fmla="*/ 49992 h 3768660"/>
                <a:gd name="connsiteX2" fmla="*/ 170683 w 1706826"/>
                <a:gd name="connsiteY2" fmla="*/ 0 h 3768660"/>
                <a:gd name="connsiteX3" fmla="*/ 1536143 w 1706826"/>
                <a:gd name="connsiteY3" fmla="*/ 0 h 3768660"/>
                <a:gd name="connsiteX4" fmla="*/ 1656834 w 1706826"/>
                <a:gd name="connsiteY4" fmla="*/ 49992 h 3768660"/>
                <a:gd name="connsiteX5" fmla="*/ 1706826 w 1706826"/>
                <a:gd name="connsiteY5" fmla="*/ 170683 h 3768660"/>
                <a:gd name="connsiteX6" fmla="*/ 1706826 w 1706826"/>
                <a:gd name="connsiteY6" fmla="*/ 3597977 h 3768660"/>
                <a:gd name="connsiteX7" fmla="*/ 1656834 w 1706826"/>
                <a:gd name="connsiteY7" fmla="*/ 3718668 h 3768660"/>
                <a:gd name="connsiteX8" fmla="*/ 1536143 w 1706826"/>
                <a:gd name="connsiteY8" fmla="*/ 3768660 h 3768660"/>
                <a:gd name="connsiteX9" fmla="*/ 170683 w 1706826"/>
                <a:gd name="connsiteY9" fmla="*/ 3768660 h 3768660"/>
                <a:gd name="connsiteX10" fmla="*/ 49992 w 1706826"/>
                <a:gd name="connsiteY10" fmla="*/ 3718668 h 3768660"/>
                <a:gd name="connsiteX11" fmla="*/ 0 w 1706826"/>
                <a:gd name="connsiteY11" fmla="*/ 3597977 h 3768660"/>
                <a:gd name="connsiteX12" fmla="*/ 0 w 1706826"/>
                <a:gd name="connsiteY12" fmla="*/ 170683 h 3768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06826" h="3768660">
                  <a:moveTo>
                    <a:pt x="0" y="170683"/>
                  </a:moveTo>
                  <a:cubicBezTo>
                    <a:pt x="0" y="125415"/>
                    <a:pt x="17983" y="82001"/>
                    <a:pt x="49992" y="49992"/>
                  </a:cubicBezTo>
                  <a:cubicBezTo>
                    <a:pt x="82001" y="17983"/>
                    <a:pt x="125415" y="0"/>
                    <a:pt x="170683" y="0"/>
                  </a:cubicBezTo>
                  <a:lnTo>
                    <a:pt x="1536143" y="0"/>
                  </a:lnTo>
                  <a:cubicBezTo>
                    <a:pt x="1581411" y="0"/>
                    <a:pt x="1624825" y="17983"/>
                    <a:pt x="1656834" y="49992"/>
                  </a:cubicBezTo>
                  <a:cubicBezTo>
                    <a:pt x="1688843" y="82001"/>
                    <a:pt x="1706826" y="125415"/>
                    <a:pt x="1706826" y="170683"/>
                  </a:cubicBezTo>
                  <a:lnTo>
                    <a:pt x="1706826" y="3597977"/>
                  </a:lnTo>
                  <a:cubicBezTo>
                    <a:pt x="1706826" y="3643245"/>
                    <a:pt x="1688843" y="3686659"/>
                    <a:pt x="1656834" y="3718668"/>
                  </a:cubicBezTo>
                  <a:cubicBezTo>
                    <a:pt x="1624825" y="3750677"/>
                    <a:pt x="1581411" y="3768660"/>
                    <a:pt x="1536143" y="3768660"/>
                  </a:cubicBezTo>
                  <a:lnTo>
                    <a:pt x="170683" y="3768660"/>
                  </a:lnTo>
                  <a:cubicBezTo>
                    <a:pt x="125415" y="3768660"/>
                    <a:pt x="82001" y="3750677"/>
                    <a:pt x="49992" y="3718668"/>
                  </a:cubicBezTo>
                  <a:cubicBezTo>
                    <a:pt x="17983" y="3686659"/>
                    <a:pt x="0" y="3643245"/>
                    <a:pt x="0" y="3597977"/>
                  </a:cubicBezTo>
                  <a:lnTo>
                    <a:pt x="0" y="170683"/>
                  </a:lnTo>
                  <a:close/>
                </a:path>
              </a:pathLst>
            </a:custGeom>
          </p:spPr>
          <p:style>
            <a:lnRef idx="1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9559" tIns="149559" rIns="149559" bIns="149559" numCol="1" spcCol="1270" anchor="t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Самоанализ</a:t>
              </a:r>
            </a:p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600" dirty="0" smtClean="0">
                  <a:latin typeface="Times New Roman" pitchFamily="18" charset="0"/>
                  <a:cs typeface="Times New Roman" pitchFamily="18" charset="0"/>
                </a:rPr>
                <a:t>Кроссворды</a:t>
              </a:r>
            </a:p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600" dirty="0" smtClean="0">
                  <a:latin typeface="Times New Roman" pitchFamily="18" charset="0"/>
                  <a:cs typeface="Times New Roman" pitchFamily="18" charset="0"/>
                </a:rPr>
                <a:t>Музыкальные викторины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тестовые задания: 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Ø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с выбором ответа </a:t>
              </a: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Ø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с вводом ответа,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Ø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на установление последовательности, </a:t>
              </a:r>
              <a:endParaRPr lang="ru-RU" sz="1600" kern="1200" dirty="0">
                <a:latin typeface="Times New Roman" pitchFamily="18" charset="0"/>
                <a:cs typeface="Times New Roman" pitchFamily="18" charset="0"/>
              </a:endParaRPr>
            </a:p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itchFamily="2" charset="2"/>
                <a:buChar char="Ø"/>
              </a:pPr>
              <a:r>
                <a:rPr lang="ru-RU" sz="1600" kern="1200" dirty="0" smtClean="0">
                  <a:latin typeface="Times New Roman" pitchFamily="18" charset="0"/>
                  <a:cs typeface="Times New Roman" pitchFamily="18" charset="0"/>
                </a:rPr>
                <a:t>на установление соответствия</a:t>
              </a:r>
            </a:p>
          </p:txBody>
        </p:sp>
      </p:grpSp>
      <p:sp>
        <p:nvSpPr>
          <p:cNvPr id="18" name="Полилиния 17"/>
          <p:cNvSpPr/>
          <p:nvPr/>
        </p:nvSpPr>
        <p:spPr>
          <a:xfrm rot="4930716">
            <a:off x="6089383" y="2524555"/>
            <a:ext cx="567215" cy="461994"/>
          </a:xfrm>
          <a:custGeom>
            <a:avLst/>
            <a:gdLst>
              <a:gd name="connsiteX0" fmla="*/ 0 w 349746"/>
              <a:gd name="connsiteY0" fmla="*/ 92399 h 461994"/>
              <a:gd name="connsiteX1" fmla="*/ 174873 w 349746"/>
              <a:gd name="connsiteY1" fmla="*/ 92399 h 461994"/>
              <a:gd name="connsiteX2" fmla="*/ 174873 w 349746"/>
              <a:gd name="connsiteY2" fmla="*/ 0 h 461994"/>
              <a:gd name="connsiteX3" fmla="*/ 349746 w 349746"/>
              <a:gd name="connsiteY3" fmla="*/ 230997 h 461994"/>
              <a:gd name="connsiteX4" fmla="*/ 174873 w 349746"/>
              <a:gd name="connsiteY4" fmla="*/ 461994 h 461994"/>
              <a:gd name="connsiteX5" fmla="*/ 174873 w 349746"/>
              <a:gd name="connsiteY5" fmla="*/ 369595 h 461994"/>
              <a:gd name="connsiteX6" fmla="*/ 0 w 349746"/>
              <a:gd name="connsiteY6" fmla="*/ 369595 h 461994"/>
              <a:gd name="connsiteX7" fmla="*/ 0 w 349746"/>
              <a:gd name="connsiteY7" fmla="*/ 92399 h 461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9746" h="461994">
                <a:moveTo>
                  <a:pt x="0" y="92399"/>
                </a:moveTo>
                <a:lnTo>
                  <a:pt x="174873" y="92399"/>
                </a:lnTo>
                <a:lnTo>
                  <a:pt x="174873" y="0"/>
                </a:lnTo>
                <a:lnTo>
                  <a:pt x="349746" y="230997"/>
                </a:lnTo>
                <a:lnTo>
                  <a:pt x="174873" y="461994"/>
                </a:lnTo>
                <a:lnTo>
                  <a:pt x="174873" y="369595"/>
                </a:lnTo>
                <a:lnTo>
                  <a:pt x="0" y="369595"/>
                </a:lnTo>
                <a:lnTo>
                  <a:pt x="0" y="92399"/>
                </a:lnTo>
                <a:close/>
              </a:path>
            </a:pathLst>
          </a:cu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spcFirstLastPara="0" vert="horz" wrap="square" lIns="-1" tIns="92398" rIns="104924" bIns="92399" numCol="1" spcCol="1270" anchor="ctr" anchorCtr="0">
            <a:noAutofit/>
          </a:bodyPr>
          <a:lstStyle/>
          <a:p>
            <a:pPr lvl="0" algn="ctr" defTabSz="177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400" kern="1200"/>
          </a:p>
        </p:txBody>
      </p:sp>
      <p:sp>
        <p:nvSpPr>
          <p:cNvPr id="19" name="Полилиния 18"/>
          <p:cNvSpPr/>
          <p:nvPr/>
        </p:nvSpPr>
        <p:spPr>
          <a:xfrm rot="4930716">
            <a:off x="8134111" y="2159426"/>
            <a:ext cx="567215" cy="461994"/>
          </a:xfrm>
          <a:custGeom>
            <a:avLst/>
            <a:gdLst>
              <a:gd name="connsiteX0" fmla="*/ 0 w 349746"/>
              <a:gd name="connsiteY0" fmla="*/ 92399 h 461994"/>
              <a:gd name="connsiteX1" fmla="*/ 174873 w 349746"/>
              <a:gd name="connsiteY1" fmla="*/ 92399 h 461994"/>
              <a:gd name="connsiteX2" fmla="*/ 174873 w 349746"/>
              <a:gd name="connsiteY2" fmla="*/ 0 h 461994"/>
              <a:gd name="connsiteX3" fmla="*/ 349746 w 349746"/>
              <a:gd name="connsiteY3" fmla="*/ 230997 h 461994"/>
              <a:gd name="connsiteX4" fmla="*/ 174873 w 349746"/>
              <a:gd name="connsiteY4" fmla="*/ 461994 h 461994"/>
              <a:gd name="connsiteX5" fmla="*/ 174873 w 349746"/>
              <a:gd name="connsiteY5" fmla="*/ 369595 h 461994"/>
              <a:gd name="connsiteX6" fmla="*/ 0 w 349746"/>
              <a:gd name="connsiteY6" fmla="*/ 369595 h 461994"/>
              <a:gd name="connsiteX7" fmla="*/ 0 w 349746"/>
              <a:gd name="connsiteY7" fmla="*/ 92399 h 461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9746" h="461994">
                <a:moveTo>
                  <a:pt x="0" y="92399"/>
                </a:moveTo>
                <a:lnTo>
                  <a:pt x="174873" y="92399"/>
                </a:lnTo>
                <a:lnTo>
                  <a:pt x="174873" y="0"/>
                </a:lnTo>
                <a:lnTo>
                  <a:pt x="349746" y="230997"/>
                </a:lnTo>
                <a:lnTo>
                  <a:pt x="174873" y="461994"/>
                </a:lnTo>
                <a:lnTo>
                  <a:pt x="174873" y="369595"/>
                </a:lnTo>
                <a:lnTo>
                  <a:pt x="0" y="369595"/>
                </a:lnTo>
                <a:lnTo>
                  <a:pt x="0" y="92399"/>
                </a:lnTo>
                <a:close/>
              </a:path>
            </a:pathLst>
          </a:cu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spcFirstLastPara="0" vert="horz" wrap="square" lIns="-1" tIns="92398" rIns="104924" bIns="92399" numCol="1" spcCol="1270" anchor="ctr" anchorCtr="0">
            <a:noAutofit/>
          </a:bodyPr>
          <a:lstStyle/>
          <a:p>
            <a:pPr lvl="0" algn="ctr" defTabSz="177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400" kern="12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63</a:t>
            </a:fld>
            <a:endParaRPr lang="ru-RU"/>
          </a:p>
        </p:txBody>
      </p:sp>
      <p:graphicFrame>
        <p:nvGraphicFramePr>
          <p:cNvPr id="3" name="Схема 2"/>
          <p:cNvGraphicFramePr/>
          <p:nvPr/>
        </p:nvGraphicFramePr>
        <p:xfrm>
          <a:off x="287524" y="1052736"/>
          <a:ext cx="8532948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6" descr="http://sadik16.ucoz.net/_nw/0/5681140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07904" y="3284985"/>
            <a:ext cx="1696464" cy="1580539"/>
          </a:xfrm>
          <a:prstGeom prst="rect">
            <a:avLst/>
          </a:prstGeom>
          <a:noFill/>
        </p:spPr>
      </p:pic>
      <p:pic>
        <p:nvPicPr>
          <p:cNvPr id="5" name="Picture 2" descr="http://static3.depositphotos.com/1005091/214/v/950/depositphotos_2148591-Computer-teacher-with-blackboard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5516" y="1088740"/>
            <a:ext cx="2376264" cy="1554783"/>
          </a:xfrm>
          <a:prstGeom prst="rect">
            <a:avLst/>
          </a:prstGeom>
          <a:noFill/>
        </p:spPr>
      </p:pic>
      <p:pic>
        <p:nvPicPr>
          <p:cNvPr id="6" name="Picture 4" descr="http://www.pronk.ru/files/announcements/main/homeworker_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88224" y="4509121"/>
            <a:ext cx="1877808" cy="1817233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1187624" y="260649"/>
            <a:ext cx="73088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Таким образом,</a:t>
            </a:r>
            <a:br>
              <a:rPr lang="ru-RU" sz="2400" b="1" dirty="0" smtClean="0">
                <a:solidFill>
                  <a:srgbClr val="FF0000"/>
                </a:solidFill>
              </a:rPr>
            </a:br>
            <a:r>
              <a:rPr lang="ru-RU" sz="2400" b="1" dirty="0" smtClean="0">
                <a:solidFill>
                  <a:srgbClr val="FF0000"/>
                </a:solidFill>
              </a:rPr>
              <a:t> обучение  с использованием ЭФУ – это обучение </a:t>
            </a:r>
            <a:endParaRPr lang="ru-RU" sz="2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64</a:t>
            </a:fld>
            <a:endParaRPr lang="ru-RU"/>
          </a:p>
        </p:txBody>
      </p:sp>
      <p:sp>
        <p:nvSpPr>
          <p:cNvPr id="3" name="Выноска со стрелкой вниз 2"/>
          <p:cNvSpPr/>
          <p:nvPr/>
        </p:nvSpPr>
        <p:spPr>
          <a:xfrm>
            <a:off x="467544" y="764705"/>
            <a:ext cx="3312368" cy="1980220"/>
          </a:xfrm>
          <a:prstGeom prst="downArrowCallou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spc="-105" dirty="0" smtClean="0">
                <a:solidFill>
                  <a:schemeClr val="tx1"/>
                </a:solidFill>
                <a:latin typeface="Arial"/>
                <a:cs typeface="Arial"/>
              </a:rPr>
              <a:t>у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с</a:t>
            </a:r>
            <a:r>
              <a:rPr lang="ru-RU" b="1" spc="-60" dirty="0" smtClean="0">
                <a:solidFill>
                  <a:schemeClr val="tx1"/>
                </a:solidFill>
                <a:latin typeface="Arial"/>
                <a:cs typeface="Arial"/>
              </a:rPr>
              <a:t>т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н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о</a:t>
            </a:r>
            <a:r>
              <a:rPr lang="ru-RU" b="1" spc="10" dirty="0" smtClean="0">
                <a:solidFill>
                  <a:schemeClr val="tx1"/>
                </a:solidFill>
                <a:latin typeface="Arial"/>
                <a:cs typeface="Arial"/>
              </a:rPr>
              <a:t>в</a:t>
            </a:r>
            <a:r>
              <a:rPr lang="ru-RU" b="1" spc="-20" dirty="0" smtClean="0">
                <a:solidFill>
                  <a:schemeClr val="tx1"/>
                </a:solidFill>
                <a:latin typeface="Arial"/>
                <a:cs typeface="Arial"/>
              </a:rPr>
              <a:t>л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е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н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spc="-5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н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spc="-80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b="1" spc="-20" dirty="0" smtClean="0">
                <a:solidFill>
                  <a:schemeClr val="tx1"/>
                </a:solidFill>
                <a:latin typeface="Arial"/>
                <a:cs typeface="Arial"/>
              </a:rPr>
              <a:t>л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ю</a:t>
            </a:r>
            <a:r>
              <a:rPr lang="ru-RU" b="1" spc="5" dirty="0" smtClean="0">
                <a:solidFill>
                  <a:schemeClr val="tx1"/>
                </a:solidFill>
                <a:latin typeface="Arial"/>
                <a:cs typeface="Arial"/>
              </a:rPr>
              <a:t>б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ы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х</a:t>
            </a:r>
            <a:r>
              <a:rPr lang="ru-RU" b="1" spc="-80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ш</a:t>
            </a:r>
            <a:r>
              <a:rPr lang="ru-RU" b="1" spc="10" dirty="0" smtClean="0">
                <a:solidFill>
                  <a:schemeClr val="tx1"/>
                </a:solidFill>
                <a:latin typeface="Arial"/>
                <a:cs typeface="Arial"/>
              </a:rPr>
              <a:t>и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ро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ко 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р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ас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п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ро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с</a:t>
            </a:r>
            <a:r>
              <a:rPr lang="ru-RU" b="1" spc="-60" dirty="0" smtClean="0">
                <a:solidFill>
                  <a:schemeClr val="tx1"/>
                </a:solidFill>
                <a:latin typeface="Arial"/>
                <a:cs typeface="Arial"/>
              </a:rPr>
              <a:t>т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р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н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е</a:t>
            </a:r>
            <a:r>
              <a:rPr lang="ru-RU" b="1" spc="30" dirty="0" smtClean="0">
                <a:solidFill>
                  <a:schemeClr val="tx1"/>
                </a:solidFill>
                <a:latin typeface="Arial"/>
                <a:cs typeface="Arial"/>
              </a:rPr>
              <a:t>нны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х 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о</a:t>
            </a:r>
            <a:r>
              <a:rPr lang="ru-RU" b="1" spc="35" dirty="0" smtClean="0">
                <a:solidFill>
                  <a:schemeClr val="tx1"/>
                </a:solidFill>
                <a:latin typeface="Arial"/>
                <a:cs typeface="Arial"/>
              </a:rPr>
              <a:t>п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е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р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spc="15" dirty="0" smtClean="0">
                <a:solidFill>
                  <a:schemeClr val="tx1"/>
                </a:solidFill>
                <a:latin typeface="Arial"/>
                <a:cs typeface="Arial"/>
              </a:rPr>
              <a:t>ци</a:t>
            </a:r>
            <a:r>
              <a:rPr lang="ru-RU" b="1" spc="20" dirty="0" smtClean="0">
                <a:solidFill>
                  <a:schemeClr val="tx1"/>
                </a:solidFill>
                <a:latin typeface="Arial"/>
                <a:cs typeface="Arial"/>
              </a:rPr>
              <a:t>о</a:t>
            </a:r>
            <a:r>
              <a:rPr lang="ru-RU" b="1" spc="35" dirty="0" smtClean="0">
                <a:solidFill>
                  <a:schemeClr val="tx1"/>
                </a:solidFill>
                <a:latin typeface="Arial"/>
                <a:cs typeface="Arial"/>
              </a:rPr>
              <a:t>нны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х</a:t>
            </a:r>
            <a:r>
              <a:rPr lang="ru-RU" b="1" spc="-225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с</a:t>
            </a:r>
            <a:r>
              <a:rPr lang="ru-RU" b="1" spc="15" dirty="0" smtClean="0">
                <a:solidFill>
                  <a:schemeClr val="tx1"/>
                </a:solidFill>
                <a:latin typeface="Arial"/>
                <a:cs typeface="Arial"/>
              </a:rPr>
              <a:t>и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с</a:t>
            </a:r>
            <a:r>
              <a:rPr lang="ru-RU" b="1" spc="-60" dirty="0" smtClean="0">
                <a:solidFill>
                  <a:schemeClr val="tx1"/>
                </a:solidFill>
                <a:latin typeface="Arial"/>
                <a:cs typeface="Arial"/>
              </a:rPr>
              <a:t>т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е</a:t>
            </a:r>
            <a:r>
              <a:rPr lang="ru-RU" b="1" spc="15" dirty="0" smtClean="0">
                <a:solidFill>
                  <a:schemeClr val="tx1"/>
                </a:solidFill>
                <a:latin typeface="Arial"/>
                <a:cs typeface="Arial"/>
              </a:rPr>
              <a:t>м</a:t>
            </a:r>
            <a:r>
              <a:rPr lang="ru-RU" b="1" spc="-30" dirty="0" smtClean="0">
                <a:solidFill>
                  <a:schemeClr val="tx1"/>
                </a:solidFill>
                <a:latin typeface="Arial"/>
                <a:cs typeface="Arial"/>
              </a:rPr>
              <a:t>а</a:t>
            </a:r>
            <a:r>
              <a:rPr lang="ru-RU" b="1" dirty="0" smtClean="0">
                <a:solidFill>
                  <a:schemeClr val="tx1"/>
                </a:solidFill>
                <a:latin typeface="Arial"/>
                <a:cs typeface="Arial"/>
              </a:rPr>
              <a:t>х</a:t>
            </a:r>
            <a:endParaRPr lang="ru-RU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11560" y="2132858"/>
            <a:ext cx="2952328" cy="2718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endParaRPr lang="ru-RU" dirty="0" smtClean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8"/>
              </a:spcBef>
            </a:pPr>
            <a:endParaRPr lang="ru-RU" sz="1750" dirty="0" smtClean="0">
              <a:latin typeface="Times New Roman"/>
              <a:cs typeface="Times New Roman"/>
            </a:endParaRPr>
          </a:p>
          <a:p>
            <a:pPr marL="55244" algn="ctr">
              <a:lnSpc>
                <a:spcPct val="100000"/>
              </a:lnSpc>
            </a:pPr>
            <a:r>
              <a:rPr lang="ru-RU" sz="2400" spc="20" dirty="0" smtClean="0">
                <a:latin typeface="Wingdings"/>
                <a:cs typeface="Wingdings"/>
              </a:rPr>
              <a:t></a:t>
            </a:r>
            <a:r>
              <a:rPr lang="ru-RU" sz="2400" b="1" spc="55" dirty="0" err="1" smtClean="0">
                <a:latin typeface="Arial"/>
                <a:cs typeface="Arial"/>
              </a:rPr>
              <a:t>W</a:t>
            </a:r>
            <a:r>
              <a:rPr lang="ru-RU" sz="2400" b="1" spc="75" dirty="0" err="1" smtClean="0">
                <a:latin typeface="Arial"/>
                <a:cs typeface="Arial"/>
              </a:rPr>
              <a:t>i</a:t>
            </a:r>
            <a:r>
              <a:rPr lang="ru-RU" sz="2400" b="1" spc="-45" dirty="0" err="1" smtClean="0">
                <a:latin typeface="Arial"/>
                <a:cs typeface="Arial"/>
              </a:rPr>
              <a:t>ndo</a:t>
            </a:r>
            <a:r>
              <a:rPr lang="ru-RU" sz="2400" b="1" dirty="0" err="1" smtClean="0">
                <a:latin typeface="Arial"/>
                <a:cs typeface="Arial"/>
              </a:rPr>
              <a:t>ws</a:t>
            </a:r>
            <a:endParaRPr lang="ru-RU" sz="2400" dirty="0" smtClean="0">
              <a:latin typeface="Arial"/>
              <a:cs typeface="Arial"/>
            </a:endParaRPr>
          </a:p>
          <a:p>
            <a:pPr marL="55244" algn="ctr">
              <a:lnSpc>
                <a:spcPct val="100000"/>
              </a:lnSpc>
              <a:spcBef>
                <a:spcPts val="445"/>
              </a:spcBef>
            </a:pPr>
            <a:r>
              <a:rPr lang="ru-RU" sz="1550" spc="35" dirty="0" smtClean="0">
                <a:solidFill>
                  <a:srgbClr val="7E7E7E"/>
                </a:solidFill>
                <a:latin typeface="Wingdings"/>
                <a:cs typeface="Wingdings"/>
              </a:rPr>
              <a:t></a:t>
            </a:r>
            <a:r>
              <a:rPr lang="ru-RU" sz="1550" b="1" spc="10" dirty="0" smtClean="0">
                <a:solidFill>
                  <a:srgbClr val="7E7E7E"/>
                </a:solidFill>
                <a:latin typeface="Arial"/>
                <a:cs typeface="Arial"/>
              </a:rPr>
              <a:t>(в</a:t>
            </a:r>
            <a:r>
              <a:rPr lang="ru-RU" sz="1550" b="1" spc="40" dirty="0" smtClean="0">
                <a:solidFill>
                  <a:srgbClr val="7E7E7E"/>
                </a:solidFill>
                <a:latin typeface="Arial"/>
                <a:cs typeface="Arial"/>
              </a:rPr>
              <a:t>е</a:t>
            </a:r>
            <a:r>
              <a:rPr lang="ru-RU" sz="1550" b="1" spc="20" dirty="0" smtClean="0">
                <a:solidFill>
                  <a:srgbClr val="7E7E7E"/>
                </a:solidFill>
                <a:latin typeface="Arial"/>
                <a:cs typeface="Arial"/>
              </a:rPr>
              <a:t>р</a:t>
            </a:r>
            <a:r>
              <a:rPr lang="ru-RU" sz="1550" b="1" spc="30" dirty="0" smtClean="0">
                <a:solidFill>
                  <a:srgbClr val="7E7E7E"/>
                </a:solidFill>
                <a:latin typeface="Arial"/>
                <a:cs typeface="Arial"/>
              </a:rPr>
              <a:t>с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ия</a:t>
            </a:r>
            <a:r>
              <a:rPr lang="ru-RU" sz="1550" b="1" spc="-7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-50" dirty="0" smtClean="0">
                <a:solidFill>
                  <a:srgbClr val="7E7E7E"/>
                </a:solidFill>
                <a:latin typeface="Arial"/>
                <a:cs typeface="Arial"/>
              </a:rPr>
              <a:t>о</a:t>
            </a:r>
            <a:r>
              <a:rPr lang="ru-RU" sz="1550" b="1" spc="10" dirty="0" smtClean="0">
                <a:solidFill>
                  <a:srgbClr val="7E7E7E"/>
                </a:solidFill>
                <a:latin typeface="Arial"/>
                <a:cs typeface="Arial"/>
              </a:rPr>
              <a:t>т</a:t>
            </a:r>
            <a:r>
              <a:rPr lang="ru-RU" sz="1550" b="1" spc="6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7</a:t>
            </a:r>
            <a:r>
              <a:rPr lang="ru-RU" sz="1550" b="1" spc="3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lang="ru-RU" sz="1550" b="1" spc="20" dirty="0" smtClean="0">
                <a:solidFill>
                  <a:srgbClr val="7E7E7E"/>
                </a:solidFill>
                <a:latin typeface="Arial"/>
                <a:cs typeface="Arial"/>
              </a:rPr>
              <a:t> вы</a:t>
            </a:r>
            <a:r>
              <a:rPr lang="ru-RU" sz="1550" b="1" spc="-20" dirty="0" smtClean="0">
                <a:solidFill>
                  <a:srgbClr val="7E7E7E"/>
                </a:solidFill>
                <a:latin typeface="Arial"/>
                <a:cs typeface="Arial"/>
              </a:rPr>
              <a:t>ш</a:t>
            </a:r>
            <a:r>
              <a:rPr lang="ru-RU" sz="1550" b="1" spc="30" dirty="0" smtClean="0">
                <a:solidFill>
                  <a:srgbClr val="7E7E7E"/>
                </a:solidFill>
                <a:latin typeface="Arial"/>
                <a:cs typeface="Arial"/>
              </a:rPr>
              <a:t>е</a:t>
            </a:r>
            <a:r>
              <a:rPr lang="ru-RU" sz="1550" b="1" spc="5" dirty="0" smtClean="0">
                <a:solidFill>
                  <a:srgbClr val="7E7E7E"/>
                </a:solidFill>
                <a:latin typeface="Arial"/>
                <a:cs typeface="Arial"/>
              </a:rPr>
              <a:t>,</a:t>
            </a:r>
            <a:r>
              <a:rPr lang="ru-RU" sz="1550" b="1" spc="100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ХР)</a:t>
            </a:r>
            <a:r>
              <a:rPr lang="ru-RU" sz="1550" b="1" spc="8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-15" dirty="0" smtClean="0">
                <a:solidFill>
                  <a:srgbClr val="7E7E7E"/>
                </a:solidFill>
                <a:latin typeface="Arial"/>
                <a:cs typeface="Arial"/>
              </a:rPr>
              <a:t>дл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я</a:t>
            </a:r>
            <a:r>
              <a:rPr lang="ru-RU" sz="1550" b="1" spc="70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5" dirty="0" smtClean="0">
                <a:solidFill>
                  <a:srgbClr val="7E7E7E"/>
                </a:solidFill>
                <a:latin typeface="Arial"/>
                <a:cs typeface="Arial"/>
              </a:rPr>
              <a:t>П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К</a:t>
            </a:r>
            <a:endParaRPr lang="ru-RU" sz="1550" dirty="0" smtClean="0">
              <a:latin typeface="Arial"/>
              <a:cs typeface="Arial"/>
            </a:endParaRPr>
          </a:p>
          <a:p>
            <a:pPr marL="55244" algn="ctr">
              <a:lnSpc>
                <a:spcPct val="100000"/>
              </a:lnSpc>
              <a:spcBef>
                <a:spcPts val="595"/>
              </a:spcBef>
            </a:pPr>
            <a:r>
              <a:rPr lang="ru-RU" sz="2400" spc="20" dirty="0" smtClean="0">
                <a:latin typeface="Wingdings"/>
                <a:cs typeface="Wingdings"/>
              </a:rPr>
              <a:t></a:t>
            </a:r>
            <a:r>
              <a:rPr lang="ru-RU" sz="2400" b="1" spc="-10" dirty="0" err="1" smtClean="0">
                <a:latin typeface="Arial"/>
                <a:cs typeface="Arial"/>
              </a:rPr>
              <a:t>A</a:t>
            </a:r>
            <a:r>
              <a:rPr lang="ru-RU" sz="2400" b="1" spc="-45" dirty="0" err="1" smtClean="0">
                <a:latin typeface="Arial"/>
                <a:cs typeface="Arial"/>
              </a:rPr>
              <a:t>nd</a:t>
            </a:r>
            <a:r>
              <a:rPr lang="ru-RU" sz="2400" b="1" spc="35" dirty="0" err="1" smtClean="0">
                <a:latin typeface="Arial"/>
                <a:cs typeface="Arial"/>
              </a:rPr>
              <a:t>r</a:t>
            </a:r>
            <a:r>
              <a:rPr lang="ru-RU" sz="2400" b="1" spc="-45" dirty="0" err="1" smtClean="0">
                <a:latin typeface="Arial"/>
                <a:cs typeface="Arial"/>
              </a:rPr>
              <a:t>o</a:t>
            </a:r>
            <a:r>
              <a:rPr lang="ru-RU" sz="2400" b="1" spc="75" dirty="0" err="1" smtClean="0">
                <a:latin typeface="Arial"/>
                <a:cs typeface="Arial"/>
              </a:rPr>
              <a:t>i</a:t>
            </a:r>
            <a:r>
              <a:rPr lang="ru-RU" sz="2400" b="1" dirty="0" err="1" smtClean="0">
                <a:latin typeface="Arial"/>
                <a:cs typeface="Arial"/>
              </a:rPr>
              <a:t>d</a:t>
            </a:r>
            <a:endParaRPr lang="ru-RU" sz="2400" dirty="0" smtClean="0">
              <a:latin typeface="Arial"/>
              <a:cs typeface="Arial"/>
            </a:endParaRPr>
          </a:p>
          <a:p>
            <a:pPr marL="55244" algn="ctr">
              <a:lnSpc>
                <a:spcPct val="100000"/>
              </a:lnSpc>
              <a:spcBef>
                <a:spcPts val="445"/>
              </a:spcBef>
            </a:pPr>
            <a:r>
              <a:rPr lang="ru-RU" sz="1550" spc="35" dirty="0" smtClean="0">
                <a:solidFill>
                  <a:srgbClr val="7E7E7E"/>
                </a:solidFill>
                <a:latin typeface="Wingdings"/>
                <a:cs typeface="Wingdings"/>
              </a:rPr>
              <a:t></a:t>
            </a:r>
            <a:r>
              <a:rPr lang="ru-RU" sz="1550" b="1" spc="10" dirty="0" smtClean="0">
                <a:solidFill>
                  <a:srgbClr val="7E7E7E"/>
                </a:solidFill>
                <a:latin typeface="Arial"/>
                <a:cs typeface="Arial"/>
              </a:rPr>
              <a:t>(в</a:t>
            </a:r>
            <a:r>
              <a:rPr lang="ru-RU" sz="1550" b="1" spc="40" dirty="0" smtClean="0">
                <a:solidFill>
                  <a:srgbClr val="7E7E7E"/>
                </a:solidFill>
                <a:latin typeface="Arial"/>
                <a:cs typeface="Arial"/>
              </a:rPr>
              <a:t>е</a:t>
            </a:r>
            <a:r>
              <a:rPr lang="ru-RU" sz="1550" b="1" spc="20" dirty="0" smtClean="0">
                <a:solidFill>
                  <a:srgbClr val="7E7E7E"/>
                </a:solidFill>
                <a:latin typeface="Arial"/>
                <a:cs typeface="Arial"/>
              </a:rPr>
              <a:t>р</a:t>
            </a:r>
            <a:r>
              <a:rPr lang="ru-RU" sz="1550" b="1" spc="30" dirty="0" smtClean="0">
                <a:solidFill>
                  <a:srgbClr val="7E7E7E"/>
                </a:solidFill>
                <a:latin typeface="Arial"/>
                <a:cs typeface="Arial"/>
              </a:rPr>
              <a:t>с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ия</a:t>
            </a:r>
            <a:r>
              <a:rPr lang="ru-RU" sz="1550" b="1" spc="-7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-50" dirty="0" smtClean="0">
                <a:solidFill>
                  <a:srgbClr val="7E7E7E"/>
                </a:solidFill>
                <a:latin typeface="Arial"/>
                <a:cs typeface="Arial"/>
              </a:rPr>
              <a:t>о</a:t>
            </a:r>
            <a:r>
              <a:rPr lang="ru-RU" sz="1550" b="1" spc="10" dirty="0" smtClean="0">
                <a:solidFill>
                  <a:srgbClr val="7E7E7E"/>
                </a:solidFill>
                <a:latin typeface="Arial"/>
                <a:cs typeface="Arial"/>
              </a:rPr>
              <a:t>т</a:t>
            </a:r>
            <a:r>
              <a:rPr lang="ru-RU" sz="1550" b="1" spc="6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4</a:t>
            </a:r>
            <a:r>
              <a:rPr lang="ru-RU" sz="1550" b="1" spc="35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lang="ru-RU" sz="1550" b="1" spc="15" dirty="0" smtClean="0">
                <a:solidFill>
                  <a:srgbClr val="7E7E7E"/>
                </a:solidFill>
                <a:latin typeface="Arial"/>
                <a:cs typeface="Arial"/>
              </a:rPr>
              <a:t>и</a:t>
            </a:r>
            <a:r>
              <a:rPr lang="ru-RU" sz="1550" b="1" spc="20" dirty="0" smtClean="0">
                <a:solidFill>
                  <a:srgbClr val="7E7E7E"/>
                </a:solidFill>
                <a:latin typeface="Arial"/>
                <a:cs typeface="Arial"/>
              </a:rPr>
              <a:t> вы</a:t>
            </a:r>
            <a:r>
              <a:rPr lang="ru-RU" sz="1550" b="1" spc="-20" dirty="0" smtClean="0">
                <a:solidFill>
                  <a:srgbClr val="7E7E7E"/>
                </a:solidFill>
                <a:latin typeface="Arial"/>
                <a:cs typeface="Arial"/>
              </a:rPr>
              <a:t>ш</a:t>
            </a:r>
            <a:r>
              <a:rPr lang="ru-RU" sz="1550" b="1" spc="30" dirty="0" smtClean="0">
                <a:solidFill>
                  <a:srgbClr val="7E7E7E"/>
                </a:solidFill>
                <a:latin typeface="Arial"/>
                <a:cs typeface="Arial"/>
              </a:rPr>
              <a:t>е</a:t>
            </a:r>
            <a:r>
              <a:rPr lang="ru-RU" sz="1550" b="1" spc="5" dirty="0" smtClean="0">
                <a:solidFill>
                  <a:srgbClr val="7E7E7E"/>
                </a:solidFill>
                <a:latin typeface="Arial"/>
                <a:cs typeface="Arial"/>
              </a:rPr>
              <a:t>)</a:t>
            </a:r>
            <a:endParaRPr lang="ru-RU" sz="1550" dirty="0" smtClean="0">
              <a:latin typeface="Arial"/>
              <a:cs typeface="Arial"/>
            </a:endParaRPr>
          </a:p>
          <a:p>
            <a:pPr marL="55244" algn="ctr">
              <a:lnSpc>
                <a:spcPct val="100000"/>
              </a:lnSpc>
              <a:spcBef>
                <a:spcPts val="590"/>
              </a:spcBef>
            </a:pPr>
            <a:r>
              <a:rPr lang="ru-RU" sz="2400" spc="20" dirty="0" smtClean="0">
                <a:latin typeface="Wingdings"/>
                <a:cs typeface="Wingdings"/>
              </a:rPr>
              <a:t></a:t>
            </a:r>
            <a:r>
              <a:rPr lang="ru-RU" sz="2400" b="1" spc="75" dirty="0" err="1" smtClean="0">
                <a:latin typeface="Arial"/>
                <a:cs typeface="Arial"/>
              </a:rPr>
              <a:t>i</a:t>
            </a:r>
            <a:r>
              <a:rPr lang="ru-RU" sz="2400" b="1" spc="-70" dirty="0" err="1" smtClean="0">
                <a:latin typeface="Arial"/>
                <a:cs typeface="Arial"/>
              </a:rPr>
              <a:t>O</a:t>
            </a:r>
            <a:r>
              <a:rPr lang="ru-RU" sz="2400" b="1" dirty="0" err="1" smtClean="0">
                <a:latin typeface="Arial"/>
                <a:cs typeface="Arial"/>
              </a:rPr>
              <a:t>S</a:t>
            </a:r>
            <a:endParaRPr lang="ru-RU" sz="2400" dirty="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27584" y="4941169"/>
            <a:ext cx="2520280" cy="10441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Прямоугольник 5"/>
          <p:cNvSpPr/>
          <p:nvPr/>
        </p:nvSpPr>
        <p:spPr>
          <a:xfrm>
            <a:off x="2915816" y="188642"/>
            <a:ext cx="335040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spc="10" dirty="0" smtClean="0">
                <a:solidFill>
                  <a:srgbClr val="FF0000"/>
                </a:solidFill>
              </a:rPr>
              <a:t>Э</a:t>
            </a:r>
            <a:r>
              <a:rPr lang="ru-RU" sz="3200" spc="-180" dirty="0" smtClean="0">
                <a:solidFill>
                  <a:srgbClr val="FF0000"/>
                </a:solidFill>
              </a:rPr>
              <a:t>Ф</a:t>
            </a:r>
            <a:r>
              <a:rPr lang="ru-RU" sz="3200" dirty="0" smtClean="0">
                <a:solidFill>
                  <a:srgbClr val="FF0000"/>
                </a:solidFill>
              </a:rPr>
              <a:t>У</a:t>
            </a:r>
            <a:r>
              <a:rPr lang="ru-RU" sz="3200" spc="-60" dirty="0" smtClean="0">
                <a:solidFill>
                  <a:srgbClr val="FF0000"/>
                </a:solidFill>
              </a:rPr>
              <a:t> </a:t>
            </a:r>
            <a:r>
              <a:rPr lang="ru-RU" sz="3200" spc="20" dirty="0" smtClean="0">
                <a:solidFill>
                  <a:srgbClr val="FF0000"/>
                </a:solidFill>
              </a:rPr>
              <a:t>М</a:t>
            </a:r>
            <a:r>
              <a:rPr lang="ru-RU" sz="3200" spc="-70" dirty="0" smtClean="0">
                <a:solidFill>
                  <a:srgbClr val="FF0000"/>
                </a:solidFill>
              </a:rPr>
              <a:t>О</a:t>
            </a:r>
            <a:r>
              <a:rPr lang="ru-RU" sz="3200" spc="-75" dirty="0" smtClean="0">
                <a:solidFill>
                  <a:srgbClr val="FF0000"/>
                </a:solidFill>
              </a:rPr>
              <a:t>Ж</a:t>
            </a:r>
            <a:r>
              <a:rPr lang="ru-RU" sz="3200" spc="-30" dirty="0" smtClean="0">
                <a:solidFill>
                  <a:srgbClr val="FF0000"/>
                </a:solidFill>
              </a:rPr>
              <a:t>Е</a:t>
            </a:r>
            <a:r>
              <a:rPr lang="ru-RU" sz="3200" dirty="0" smtClean="0">
                <a:solidFill>
                  <a:srgbClr val="FF0000"/>
                </a:solidFill>
              </a:rPr>
              <a:t>Т</a:t>
            </a:r>
            <a:r>
              <a:rPr lang="ru-RU" sz="3200" spc="110" dirty="0" smtClean="0">
                <a:solidFill>
                  <a:srgbClr val="FF0000"/>
                </a:solidFill>
              </a:rPr>
              <a:t> </a:t>
            </a:r>
            <a:r>
              <a:rPr lang="ru-RU" sz="3200" dirty="0" smtClean="0">
                <a:solidFill>
                  <a:srgbClr val="FF0000"/>
                </a:solidFill>
              </a:rPr>
              <a:t>Б</a:t>
            </a:r>
            <a:r>
              <a:rPr lang="ru-RU" sz="3200" spc="-30" dirty="0" smtClean="0">
                <a:solidFill>
                  <a:srgbClr val="FF0000"/>
                </a:solidFill>
              </a:rPr>
              <a:t>Ы</a:t>
            </a:r>
            <a:r>
              <a:rPr lang="ru-RU" sz="3200" spc="30" dirty="0" smtClean="0">
                <a:solidFill>
                  <a:srgbClr val="FF0000"/>
                </a:solidFill>
              </a:rPr>
              <a:t>Т</a:t>
            </a:r>
            <a:r>
              <a:rPr lang="ru-RU" sz="3200" dirty="0" smtClean="0">
                <a:solidFill>
                  <a:srgbClr val="FF0000"/>
                </a:solidFill>
              </a:rPr>
              <a:t>Ь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7" name="Выноска со стрелкой вниз 6"/>
          <p:cNvSpPr/>
          <p:nvPr/>
        </p:nvSpPr>
        <p:spPr>
          <a:xfrm>
            <a:off x="5040052" y="836712"/>
            <a:ext cx="3312368" cy="1800200"/>
          </a:xfrm>
          <a:prstGeom prst="downArrowCallou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spc="10" dirty="0" smtClean="0">
                <a:latin typeface="Arial"/>
                <a:cs typeface="Arial"/>
              </a:rPr>
              <a:t>в</a:t>
            </a:r>
            <a:r>
              <a:rPr lang="ru-RU" b="1" spc="20" dirty="0" smtClean="0">
                <a:latin typeface="Arial"/>
                <a:cs typeface="Arial"/>
              </a:rPr>
              <a:t>о</a:t>
            </a:r>
            <a:r>
              <a:rPr lang="ru-RU" b="1" spc="-30" dirty="0" smtClean="0">
                <a:latin typeface="Arial"/>
                <a:cs typeface="Arial"/>
              </a:rPr>
              <a:t>с</a:t>
            </a:r>
            <a:r>
              <a:rPr lang="ru-RU" b="1" spc="30" dirty="0" smtClean="0">
                <a:latin typeface="Arial"/>
                <a:cs typeface="Arial"/>
              </a:rPr>
              <a:t>п</a:t>
            </a:r>
            <a:r>
              <a:rPr lang="ru-RU" b="1" spc="20" dirty="0" smtClean="0">
                <a:latin typeface="Arial"/>
                <a:cs typeface="Arial"/>
              </a:rPr>
              <a:t>ро</a:t>
            </a:r>
            <a:r>
              <a:rPr lang="ru-RU" b="1" spc="10" dirty="0" smtClean="0">
                <a:latin typeface="Arial"/>
                <a:cs typeface="Arial"/>
              </a:rPr>
              <a:t>и</a:t>
            </a:r>
            <a:r>
              <a:rPr lang="ru-RU" b="1" dirty="0" smtClean="0">
                <a:latin typeface="Arial"/>
                <a:cs typeface="Arial"/>
              </a:rPr>
              <a:t>з</a:t>
            </a:r>
            <a:r>
              <a:rPr lang="ru-RU" b="1" spc="15" dirty="0" smtClean="0">
                <a:latin typeface="Arial"/>
                <a:cs typeface="Arial"/>
              </a:rPr>
              <a:t>в</a:t>
            </a:r>
            <a:r>
              <a:rPr lang="ru-RU" b="1" spc="-30" dirty="0" smtClean="0">
                <a:latin typeface="Arial"/>
                <a:cs typeface="Arial"/>
              </a:rPr>
              <a:t>е</a:t>
            </a:r>
            <a:r>
              <a:rPr lang="ru-RU" b="1" spc="-20" dirty="0" smtClean="0">
                <a:latin typeface="Arial"/>
                <a:cs typeface="Arial"/>
              </a:rPr>
              <a:t>д</a:t>
            </a:r>
            <a:r>
              <a:rPr lang="ru-RU" b="1" spc="-30" dirty="0" smtClean="0">
                <a:latin typeface="Arial"/>
                <a:cs typeface="Arial"/>
              </a:rPr>
              <a:t>е</a:t>
            </a:r>
            <a:r>
              <a:rPr lang="ru-RU" b="1" spc="30" dirty="0" smtClean="0">
                <a:latin typeface="Arial"/>
                <a:cs typeface="Arial"/>
              </a:rPr>
              <a:t>н</a:t>
            </a:r>
            <a:r>
              <a:rPr lang="ru-RU" b="1" dirty="0" smtClean="0">
                <a:latin typeface="Arial"/>
                <a:cs typeface="Arial"/>
              </a:rPr>
              <a:t>а</a:t>
            </a:r>
            <a:r>
              <a:rPr lang="ru-RU" b="1" spc="-229" dirty="0" smtClean="0">
                <a:latin typeface="Arial"/>
                <a:cs typeface="Arial"/>
              </a:rPr>
              <a:t> </a:t>
            </a:r>
            <a:r>
              <a:rPr lang="ru-RU" b="1" spc="30" dirty="0" smtClean="0">
                <a:latin typeface="Arial"/>
                <a:cs typeface="Arial"/>
              </a:rPr>
              <a:t>н</a:t>
            </a:r>
            <a:r>
              <a:rPr lang="ru-RU" b="1" dirty="0" smtClean="0">
                <a:latin typeface="Arial"/>
                <a:cs typeface="Arial"/>
              </a:rPr>
              <a:t>а</a:t>
            </a:r>
            <a:r>
              <a:rPr lang="ru-RU" b="1" spc="-80" dirty="0" smtClean="0">
                <a:latin typeface="Arial"/>
                <a:cs typeface="Arial"/>
              </a:rPr>
              <a:t> </a:t>
            </a:r>
            <a:r>
              <a:rPr lang="ru-RU" b="1" spc="20" dirty="0" smtClean="0">
                <a:latin typeface="Arial"/>
                <a:cs typeface="Arial"/>
              </a:rPr>
              <a:t>р</a:t>
            </a:r>
            <a:r>
              <a:rPr lang="ru-RU" b="1" spc="-30" dirty="0" smtClean="0">
                <a:latin typeface="Arial"/>
                <a:cs typeface="Arial"/>
              </a:rPr>
              <a:t>а</a:t>
            </a:r>
            <a:r>
              <a:rPr lang="ru-RU" b="1" dirty="0" smtClean="0">
                <a:latin typeface="Arial"/>
                <a:cs typeface="Arial"/>
              </a:rPr>
              <a:t>з</a:t>
            </a:r>
            <a:r>
              <a:rPr lang="ru-RU" b="1" spc="-20" dirty="0" smtClean="0">
                <a:latin typeface="Arial"/>
                <a:cs typeface="Arial"/>
              </a:rPr>
              <a:t>л</a:t>
            </a:r>
            <a:r>
              <a:rPr lang="ru-RU" b="1" spc="10" dirty="0" smtClean="0">
                <a:latin typeface="Arial"/>
                <a:cs typeface="Arial"/>
              </a:rPr>
              <a:t>и</a:t>
            </a:r>
            <a:r>
              <a:rPr lang="ru-RU" b="1" dirty="0" smtClean="0">
                <a:latin typeface="Arial"/>
                <a:cs typeface="Arial"/>
              </a:rPr>
              <a:t>ч</a:t>
            </a:r>
            <a:r>
              <a:rPr lang="ru-RU" b="1" spc="35" dirty="0" smtClean="0">
                <a:latin typeface="Arial"/>
                <a:cs typeface="Arial"/>
              </a:rPr>
              <a:t>н</a:t>
            </a:r>
            <a:r>
              <a:rPr lang="ru-RU" b="1" spc="30" dirty="0" smtClean="0">
                <a:latin typeface="Arial"/>
                <a:cs typeface="Arial"/>
              </a:rPr>
              <a:t>ы</a:t>
            </a:r>
            <a:r>
              <a:rPr lang="ru-RU" b="1" dirty="0" smtClean="0">
                <a:latin typeface="Arial"/>
                <a:cs typeface="Arial"/>
              </a:rPr>
              <a:t>х </a:t>
            </a:r>
            <a:r>
              <a:rPr lang="ru-RU" b="1" spc="-100" dirty="0" smtClean="0">
                <a:latin typeface="Arial"/>
                <a:cs typeface="Arial"/>
              </a:rPr>
              <a:t>э</a:t>
            </a:r>
            <a:r>
              <a:rPr lang="ru-RU" b="1" spc="-20" dirty="0" smtClean="0">
                <a:latin typeface="Arial"/>
                <a:cs typeface="Arial"/>
              </a:rPr>
              <a:t>л</a:t>
            </a:r>
            <a:r>
              <a:rPr lang="ru-RU" b="1" spc="-30" dirty="0" smtClean="0">
                <a:latin typeface="Arial"/>
                <a:cs typeface="Arial"/>
              </a:rPr>
              <a:t>е</a:t>
            </a:r>
            <a:r>
              <a:rPr lang="ru-RU" b="1" dirty="0" smtClean="0">
                <a:latin typeface="Arial"/>
                <a:cs typeface="Arial"/>
              </a:rPr>
              <a:t>к</a:t>
            </a:r>
            <a:r>
              <a:rPr lang="ru-RU" b="1" spc="-60" dirty="0" smtClean="0">
                <a:latin typeface="Arial"/>
                <a:cs typeface="Arial"/>
              </a:rPr>
              <a:t>т</a:t>
            </a:r>
            <a:r>
              <a:rPr lang="ru-RU" b="1" spc="20" dirty="0" smtClean="0">
                <a:latin typeface="Arial"/>
                <a:cs typeface="Arial"/>
              </a:rPr>
              <a:t>ро</a:t>
            </a:r>
            <a:r>
              <a:rPr lang="ru-RU" b="1" spc="30" dirty="0" smtClean="0">
                <a:latin typeface="Arial"/>
                <a:cs typeface="Arial"/>
              </a:rPr>
              <a:t>нны</a:t>
            </a:r>
            <a:r>
              <a:rPr lang="ru-RU" b="1" dirty="0" smtClean="0">
                <a:latin typeface="Arial"/>
                <a:cs typeface="Arial"/>
              </a:rPr>
              <a:t>х</a:t>
            </a:r>
            <a:r>
              <a:rPr lang="ru-RU" b="1" spc="-80" dirty="0" smtClean="0">
                <a:latin typeface="Arial"/>
                <a:cs typeface="Arial"/>
              </a:rPr>
              <a:t> </a:t>
            </a:r>
            <a:r>
              <a:rPr lang="ru-RU" b="1" spc="10" dirty="0" smtClean="0">
                <a:latin typeface="Arial"/>
                <a:cs typeface="Arial"/>
              </a:rPr>
              <a:t>м</a:t>
            </a:r>
            <a:r>
              <a:rPr lang="ru-RU" b="1" spc="20" dirty="0" smtClean="0">
                <a:latin typeface="Arial"/>
                <a:cs typeface="Arial"/>
              </a:rPr>
              <a:t>о</a:t>
            </a:r>
            <a:r>
              <a:rPr lang="ru-RU" b="1" spc="5" dirty="0" smtClean="0">
                <a:latin typeface="Arial"/>
                <a:cs typeface="Arial"/>
              </a:rPr>
              <a:t>б</a:t>
            </a:r>
            <a:r>
              <a:rPr lang="ru-RU" b="1" spc="10" dirty="0" smtClean="0">
                <a:latin typeface="Arial"/>
                <a:cs typeface="Arial"/>
              </a:rPr>
              <a:t>и</a:t>
            </a:r>
            <a:r>
              <a:rPr lang="ru-RU" b="1" spc="-20" dirty="0" smtClean="0">
                <a:latin typeface="Arial"/>
                <a:cs typeface="Arial"/>
              </a:rPr>
              <a:t>л</a:t>
            </a:r>
            <a:r>
              <a:rPr lang="ru-RU" b="1" spc="10" dirty="0" smtClean="0">
                <a:latin typeface="Arial"/>
                <a:cs typeface="Arial"/>
              </a:rPr>
              <a:t>ь</a:t>
            </a:r>
            <a:r>
              <a:rPr lang="ru-RU" b="1" spc="30" dirty="0" smtClean="0">
                <a:latin typeface="Arial"/>
                <a:cs typeface="Arial"/>
              </a:rPr>
              <a:t>ны</a:t>
            </a:r>
            <a:r>
              <a:rPr lang="ru-RU" b="1" dirty="0" smtClean="0">
                <a:latin typeface="Arial"/>
                <a:cs typeface="Arial"/>
              </a:rPr>
              <a:t>х </a:t>
            </a:r>
            <a:r>
              <a:rPr lang="ru-RU" b="1" spc="-105" dirty="0" smtClean="0">
                <a:latin typeface="Arial"/>
                <a:cs typeface="Arial"/>
              </a:rPr>
              <a:t>у</a:t>
            </a:r>
            <a:r>
              <a:rPr lang="ru-RU" b="1" spc="-30" dirty="0" smtClean="0">
                <a:latin typeface="Arial"/>
                <a:cs typeface="Arial"/>
              </a:rPr>
              <a:t>с</a:t>
            </a:r>
            <a:r>
              <a:rPr lang="ru-RU" b="1" spc="-60" dirty="0" smtClean="0">
                <a:latin typeface="Arial"/>
                <a:cs typeface="Arial"/>
              </a:rPr>
              <a:t>т</a:t>
            </a:r>
            <a:r>
              <a:rPr lang="ru-RU" b="1" spc="20" dirty="0" smtClean="0">
                <a:latin typeface="Arial"/>
                <a:cs typeface="Arial"/>
              </a:rPr>
              <a:t>ро</a:t>
            </a:r>
            <a:r>
              <a:rPr lang="ru-RU" b="1" spc="15" dirty="0" smtClean="0">
                <a:latin typeface="Arial"/>
                <a:cs typeface="Arial"/>
              </a:rPr>
              <a:t>й</a:t>
            </a:r>
            <a:r>
              <a:rPr lang="ru-RU" b="1" spc="-30" dirty="0" smtClean="0">
                <a:latin typeface="Arial"/>
                <a:cs typeface="Arial"/>
              </a:rPr>
              <a:t>с</a:t>
            </a:r>
            <a:r>
              <a:rPr lang="ru-RU" b="1" spc="-60" dirty="0" smtClean="0">
                <a:latin typeface="Arial"/>
                <a:cs typeface="Arial"/>
              </a:rPr>
              <a:t>т</a:t>
            </a:r>
            <a:r>
              <a:rPr lang="ru-RU" b="1" spc="15" dirty="0" smtClean="0">
                <a:latin typeface="Arial"/>
                <a:cs typeface="Arial"/>
              </a:rPr>
              <a:t>в</a:t>
            </a:r>
            <a:r>
              <a:rPr lang="ru-RU" b="1" spc="-30" dirty="0" smtClean="0">
                <a:latin typeface="Arial"/>
                <a:cs typeface="Arial"/>
              </a:rPr>
              <a:t>а</a:t>
            </a:r>
            <a:r>
              <a:rPr lang="ru-RU" b="1" dirty="0" smtClean="0">
                <a:latin typeface="Arial"/>
                <a:cs typeface="Arial"/>
              </a:rPr>
              <a:t>х</a:t>
            </a:r>
            <a:endParaRPr lang="ru-RU" dirty="0" smtClean="0">
              <a:latin typeface="Arial"/>
              <a:cs typeface="Arial"/>
            </a:endParaRPr>
          </a:p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572000" y="2276873"/>
            <a:ext cx="4176464" cy="2328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endParaRPr lang="ru-RU" dirty="0" smtClean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3"/>
              </a:spcBef>
            </a:pPr>
            <a:endParaRPr lang="ru-RU" sz="1900" dirty="0" smtClean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lang="ru-RU" sz="2000" spc="-20" dirty="0" smtClean="0">
                <a:latin typeface="Wingdings"/>
                <a:cs typeface="Wingdings"/>
              </a:rPr>
              <a:t></a:t>
            </a:r>
            <a:r>
              <a:rPr lang="ru-RU" sz="2000" b="1" spc="-10" dirty="0" smtClean="0">
                <a:latin typeface="Arial"/>
                <a:cs typeface="Arial"/>
              </a:rPr>
              <a:t>п</a:t>
            </a:r>
            <a:r>
              <a:rPr lang="ru-RU" sz="2000" b="1" dirty="0" smtClean="0">
                <a:latin typeface="Arial"/>
                <a:cs typeface="Arial"/>
              </a:rPr>
              <a:t>л</a:t>
            </a:r>
            <a:r>
              <a:rPr lang="ru-RU" sz="2000" b="1" spc="15" dirty="0" smtClean="0">
                <a:latin typeface="Arial"/>
                <a:cs typeface="Arial"/>
              </a:rPr>
              <a:t>а</a:t>
            </a:r>
            <a:r>
              <a:rPr lang="ru-RU" sz="2000" b="1" spc="-15" dirty="0" smtClean="0">
                <a:latin typeface="Arial"/>
                <a:cs typeface="Arial"/>
              </a:rPr>
              <a:t>н</a:t>
            </a:r>
            <a:r>
              <a:rPr lang="ru-RU" sz="2000" b="1" spc="50" dirty="0" smtClean="0">
                <a:latin typeface="Arial"/>
                <a:cs typeface="Arial"/>
              </a:rPr>
              <a:t>ш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-10" dirty="0" smtClean="0">
                <a:latin typeface="Arial"/>
                <a:cs typeface="Arial"/>
              </a:rPr>
              <a:t>тн</a:t>
            </a:r>
            <a:r>
              <a:rPr lang="ru-RU" sz="2000" b="1" spc="10" dirty="0" smtClean="0">
                <a:latin typeface="Arial"/>
                <a:cs typeface="Arial"/>
              </a:rPr>
              <a:t>ы</a:t>
            </a:r>
            <a:r>
              <a:rPr lang="ru-RU" sz="2000" b="1" spc="15" dirty="0" smtClean="0">
                <a:latin typeface="Arial"/>
                <a:cs typeface="Arial"/>
              </a:rPr>
              <a:t>х</a:t>
            </a:r>
            <a:r>
              <a:rPr lang="ru-RU" sz="2000" b="1" spc="-185" dirty="0" smtClean="0">
                <a:latin typeface="Arial"/>
                <a:cs typeface="Arial"/>
              </a:rPr>
              <a:t> </a:t>
            </a:r>
            <a:r>
              <a:rPr lang="ru-RU" sz="2000" b="1" spc="45" dirty="0" smtClean="0">
                <a:latin typeface="Arial"/>
                <a:cs typeface="Arial"/>
              </a:rPr>
              <a:t>ко</a:t>
            </a:r>
            <a:r>
              <a:rPr lang="ru-RU" sz="2000" b="1" spc="20" dirty="0" smtClean="0">
                <a:latin typeface="Arial"/>
                <a:cs typeface="Arial"/>
              </a:rPr>
              <a:t>м</a:t>
            </a:r>
            <a:r>
              <a:rPr lang="ru-RU" sz="2000" b="1" spc="-10" dirty="0" smtClean="0">
                <a:latin typeface="Arial"/>
                <a:cs typeface="Arial"/>
              </a:rPr>
              <a:t>п</a:t>
            </a:r>
            <a:r>
              <a:rPr lang="ru-RU" sz="2000" b="1" spc="40" dirty="0" smtClean="0">
                <a:latin typeface="Arial"/>
                <a:cs typeface="Arial"/>
              </a:rPr>
              <a:t>ь</a:t>
            </a:r>
            <a:r>
              <a:rPr lang="ru-RU" sz="2000" b="1" spc="-65" dirty="0" smtClean="0">
                <a:latin typeface="Arial"/>
                <a:cs typeface="Arial"/>
              </a:rPr>
              <a:t>ю</a:t>
            </a:r>
            <a:r>
              <a:rPr lang="ru-RU" sz="2000" b="1" spc="-10" dirty="0" smtClean="0">
                <a:latin typeface="Arial"/>
                <a:cs typeface="Arial"/>
              </a:rPr>
              <a:t>т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45" dirty="0" smtClean="0">
                <a:latin typeface="Arial"/>
                <a:cs typeface="Arial"/>
              </a:rPr>
              <a:t>р</a:t>
            </a:r>
            <a:r>
              <a:rPr lang="ru-RU" sz="2000" b="1" spc="15" dirty="0" smtClean="0">
                <a:latin typeface="Arial"/>
                <a:cs typeface="Arial"/>
              </a:rPr>
              <a:t>ах</a:t>
            </a:r>
            <a:endParaRPr lang="ru-RU" sz="2000" dirty="0" smtClean="0">
              <a:latin typeface="Arial"/>
              <a:cs typeface="Arial"/>
            </a:endParaRPr>
          </a:p>
          <a:p>
            <a:pPr marL="12700" marR="1451610">
              <a:lnSpc>
                <a:spcPct val="100000"/>
              </a:lnSpc>
              <a:spcBef>
                <a:spcPts val="455"/>
              </a:spcBef>
            </a:pPr>
            <a:r>
              <a:rPr lang="ru-RU" sz="2000" spc="-20" dirty="0" smtClean="0">
                <a:latin typeface="Wingdings"/>
                <a:cs typeface="Wingdings"/>
              </a:rPr>
              <a:t></a:t>
            </a:r>
            <a:r>
              <a:rPr lang="ru-RU" sz="2000" b="1" spc="-10" dirty="0" smtClean="0">
                <a:latin typeface="Arial"/>
                <a:cs typeface="Arial"/>
              </a:rPr>
              <a:t>н</a:t>
            </a:r>
            <a:r>
              <a:rPr lang="ru-RU" sz="2000" b="1" spc="15" dirty="0" smtClean="0">
                <a:latin typeface="Arial"/>
                <a:cs typeface="Arial"/>
              </a:rPr>
              <a:t>а</a:t>
            </a:r>
            <a:r>
              <a:rPr lang="ru-RU" sz="2000" b="1" spc="-110" dirty="0" smtClean="0">
                <a:latin typeface="Arial"/>
                <a:cs typeface="Arial"/>
              </a:rPr>
              <a:t> </a:t>
            </a:r>
            <a:r>
              <a:rPr lang="ru-RU" sz="2000" b="1" spc="-10" dirty="0" smtClean="0">
                <a:latin typeface="Arial"/>
                <a:cs typeface="Arial"/>
              </a:rPr>
              <a:t>п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45" dirty="0" smtClean="0">
                <a:latin typeface="Arial"/>
                <a:cs typeface="Arial"/>
              </a:rPr>
              <a:t>р</a:t>
            </a:r>
            <a:r>
              <a:rPr lang="ru-RU" sz="2000" b="1" spc="15" dirty="0" smtClean="0">
                <a:latin typeface="Arial"/>
                <a:cs typeface="Arial"/>
              </a:rPr>
              <a:t>с</a:t>
            </a:r>
            <a:r>
              <a:rPr lang="ru-RU" sz="2000" b="1" spc="45" dirty="0" smtClean="0">
                <a:latin typeface="Arial"/>
                <a:cs typeface="Arial"/>
              </a:rPr>
              <a:t>о</a:t>
            </a:r>
            <a:r>
              <a:rPr lang="ru-RU" sz="2000" b="1" spc="-10" dirty="0" smtClean="0">
                <a:latin typeface="Arial"/>
                <a:cs typeface="Arial"/>
              </a:rPr>
              <a:t>н</a:t>
            </a:r>
            <a:r>
              <a:rPr lang="ru-RU" sz="2000" b="1" spc="15" dirty="0" smtClean="0">
                <a:latin typeface="Arial"/>
                <a:cs typeface="Arial"/>
              </a:rPr>
              <a:t>а</a:t>
            </a:r>
            <a:r>
              <a:rPr lang="ru-RU" sz="2000" b="1" dirty="0" smtClean="0">
                <a:latin typeface="Arial"/>
                <a:cs typeface="Arial"/>
              </a:rPr>
              <a:t>л</a:t>
            </a:r>
            <a:r>
              <a:rPr lang="ru-RU" sz="2000" b="1" spc="40" dirty="0" smtClean="0">
                <a:latin typeface="Arial"/>
                <a:cs typeface="Arial"/>
              </a:rPr>
              <a:t>ь</a:t>
            </a:r>
            <a:r>
              <a:rPr lang="ru-RU" sz="2000" b="1" spc="-10" dirty="0" smtClean="0">
                <a:latin typeface="Arial"/>
                <a:cs typeface="Arial"/>
              </a:rPr>
              <a:t>н</a:t>
            </a:r>
            <a:r>
              <a:rPr lang="ru-RU" sz="2000" b="1" spc="10" dirty="0" smtClean="0">
                <a:latin typeface="Arial"/>
                <a:cs typeface="Arial"/>
              </a:rPr>
              <a:t>ы</a:t>
            </a:r>
            <a:r>
              <a:rPr lang="ru-RU" sz="2000" b="1" spc="15" dirty="0" smtClean="0">
                <a:latin typeface="Arial"/>
                <a:cs typeface="Arial"/>
              </a:rPr>
              <a:t>х</a:t>
            </a:r>
            <a:r>
              <a:rPr lang="ru-RU" sz="2000" b="1" spc="5" dirty="0" smtClean="0">
                <a:latin typeface="Arial"/>
                <a:cs typeface="Arial"/>
              </a:rPr>
              <a:t> </a:t>
            </a:r>
            <a:r>
              <a:rPr lang="ru-RU" sz="2000" b="1" spc="45" dirty="0" smtClean="0">
                <a:latin typeface="Arial"/>
                <a:cs typeface="Arial"/>
              </a:rPr>
              <a:t>ко</a:t>
            </a:r>
            <a:r>
              <a:rPr lang="ru-RU" sz="2000" b="1" spc="20" dirty="0" smtClean="0">
                <a:latin typeface="Arial"/>
                <a:cs typeface="Arial"/>
              </a:rPr>
              <a:t>м</a:t>
            </a:r>
            <a:r>
              <a:rPr lang="ru-RU" sz="2000" b="1" spc="-10" dirty="0" smtClean="0">
                <a:latin typeface="Arial"/>
                <a:cs typeface="Arial"/>
              </a:rPr>
              <a:t>п</a:t>
            </a:r>
            <a:r>
              <a:rPr lang="ru-RU" sz="2000" b="1" spc="40" dirty="0" smtClean="0">
                <a:latin typeface="Arial"/>
                <a:cs typeface="Arial"/>
              </a:rPr>
              <a:t>ь</a:t>
            </a:r>
            <a:r>
              <a:rPr lang="ru-RU" sz="2000" b="1" spc="-65" dirty="0" smtClean="0">
                <a:latin typeface="Arial"/>
                <a:cs typeface="Arial"/>
              </a:rPr>
              <a:t>ю</a:t>
            </a:r>
            <a:r>
              <a:rPr lang="ru-RU" sz="2000" b="1" spc="-10" dirty="0" smtClean="0">
                <a:latin typeface="Arial"/>
                <a:cs typeface="Arial"/>
              </a:rPr>
              <a:t>т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-30" dirty="0" smtClean="0">
                <a:latin typeface="Arial"/>
                <a:cs typeface="Arial"/>
              </a:rPr>
              <a:t>р</a:t>
            </a:r>
            <a:r>
              <a:rPr lang="ru-RU" sz="2000" b="1" spc="10" dirty="0" smtClean="0">
                <a:latin typeface="Arial"/>
                <a:cs typeface="Arial"/>
              </a:rPr>
              <a:t>ах,</a:t>
            </a:r>
            <a:endParaRPr lang="ru-RU" sz="2000" dirty="0" smtClean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530"/>
              </a:spcBef>
            </a:pPr>
            <a:r>
              <a:rPr lang="ru-RU" sz="2000" spc="-20" dirty="0" smtClean="0">
                <a:latin typeface="Wingdings"/>
                <a:cs typeface="Wingdings"/>
              </a:rPr>
              <a:t></a:t>
            </a:r>
            <a:r>
              <a:rPr lang="ru-RU" sz="2000" b="1" spc="15" dirty="0" smtClean="0">
                <a:latin typeface="Arial"/>
                <a:cs typeface="Arial"/>
              </a:rPr>
              <a:t>в</a:t>
            </a:r>
            <a:r>
              <a:rPr lang="ru-RU" sz="2000" b="1" spc="-80" dirty="0" smtClean="0">
                <a:latin typeface="Arial"/>
                <a:cs typeface="Arial"/>
              </a:rPr>
              <a:t> </a:t>
            </a:r>
            <a:r>
              <a:rPr lang="ru-RU" sz="2000" b="1" spc="-10" dirty="0" smtClean="0">
                <a:latin typeface="Arial"/>
                <a:cs typeface="Arial"/>
              </a:rPr>
              <a:t>т</a:t>
            </a:r>
            <a:r>
              <a:rPr lang="ru-RU" sz="2000" b="1" spc="45" dirty="0" smtClean="0">
                <a:latin typeface="Arial"/>
                <a:cs typeface="Arial"/>
              </a:rPr>
              <a:t>о</a:t>
            </a:r>
            <a:r>
              <a:rPr lang="ru-RU" sz="2000" b="1" spc="20" dirty="0" smtClean="0">
                <a:latin typeface="Arial"/>
                <a:cs typeface="Arial"/>
              </a:rPr>
              <a:t>м</a:t>
            </a:r>
            <a:r>
              <a:rPr lang="ru-RU" sz="2000" b="1" spc="-185" dirty="0" smtClean="0">
                <a:latin typeface="Arial"/>
                <a:cs typeface="Arial"/>
              </a:rPr>
              <a:t> </a:t>
            </a:r>
            <a:r>
              <a:rPr lang="ru-RU" sz="2000" b="1" spc="30" dirty="0" smtClean="0">
                <a:latin typeface="Arial"/>
                <a:cs typeface="Arial"/>
              </a:rPr>
              <a:t>ч</a:t>
            </a:r>
            <a:r>
              <a:rPr lang="ru-RU" sz="2000" b="1" spc="40" dirty="0" smtClean="0">
                <a:latin typeface="Arial"/>
                <a:cs typeface="Arial"/>
              </a:rPr>
              <a:t>и</a:t>
            </a:r>
            <a:r>
              <a:rPr lang="ru-RU" sz="2000" b="1" spc="15" dirty="0" smtClean="0">
                <a:latin typeface="Arial"/>
                <a:cs typeface="Arial"/>
              </a:rPr>
              <a:t>с</a:t>
            </a:r>
            <a:r>
              <a:rPr lang="ru-RU" sz="2000" b="1" dirty="0" smtClean="0">
                <a:latin typeface="Arial"/>
                <a:cs typeface="Arial"/>
              </a:rPr>
              <a:t>л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-110" dirty="0" smtClean="0">
                <a:latin typeface="Arial"/>
                <a:cs typeface="Arial"/>
              </a:rPr>
              <a:t> </a:t>
            </a:r>
            <a:r>
              <a:rPr lang="ru-RU" sz="2000" b="1" spc="15" dirty="0" smtClean="0">
                <a:latin typeface="Arial"/>
                <a:cs typeface="Arial"/>
              </a:rPr>
              <a:t>с</a:t>
            </a:r>
            <a:r>
              <a:rPr lang="ru-RU" sz="2000" b="1" spc="-35" dirty="0" smtClean="0">
                <a:latin typeface="Arial"/>
                <a:cs typeface="Arial"/>
              </a:rPr>
              <a:t> </a:t>
            </a:r>
            <a:r>
              <a:rPr lang="ru-RU" sz="2000" b="1" spc="-10" dirty="0" smtClean="0">
                <a:latin typeface="Arial"/>
                <a:cs typeface="Arial"/>
              </a:rPr>
              <a:t>п</a:t>
            </a:r>
            <a:r>
              <a:rPr lang="ru-RU" sz="2000" b="1" spc="45" dirty="0" smtClean="0">
                <a:latin typeface="Arial"/>
                <a:cs typeface="Arial"/>
              </a:rPr>
              <a:t>о</a:t>
            </a:r>
            <a:r>
              <a:rPr lang="ru-RU" sz="2000" b="1" dirty="0" smtClean="0">
                <a:latin typeface="Arial"/>
                <a:cs typeface="Arial"/>
              </a:rPr>
              <a:t>д</a:t>
            </a:r>
            <a:r>
              <a:rPr lang="ru-RU" sz="2000" b="1" spc="40" dirty="0" smtClean="0">
                <a:latin typeface="Arial"/>
                <a:cs typeface="Arial"/>
              </a:rPr>
              <a:t>к</a:t>
            </a:r>
            <a:r>
              <a:rPr lang="ru-RU" sz="2000" b="1" dirty="0" smtClean="0">
                <a:latin typeface="Arial"/>
                <a:cs typeface="Arial"/>
              </a:rPr>
              <a:t>л</a:t>
            </a:r>
            <a:r>
              <a:rPr lang="ru-RU" sz="2000" b="1" spc="-65" dirty="0" smtClean="0">
                <a:latin typeface="Arial"/>
                <a:cs typeface="Arial"/>
              </a:rPr>
              <a:t>ю</a:t>
            </a:r>
            <a:r>
              <a:rPr lang="ru-RU" sz="2000" b="1" spc="30" dirty="0" smtClean="0">
                <a:latin typeface="Arial"/>
                <a:cs typeface="Arial"/>
              </a:rPr>
              <a:t>ч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-15" dirty="0" smtClean="0">
                <a:latin typeface="Arial"/>
                <a:cs typeface="Arial"/>
              </a:rPr>
              <a:t>н</a:t>
            </a:r>
            <a:r>
              <a:rPr lang="ru-RU" sz="2000" b="1" spc="40" dirty="0" smtClean="0">
                <a:latin typeface="Arial"/>
                <a:cs typeface="Arial"/>
              </a:rPr>
              <a:t>и</a:t>
            </a:r>
            <a:r>
              <a:rPr lang="ru-RU" sz="2000" b="1" spc="15" dirty="0" smtClean="0">
                <a:latin typeface="Arial"/>
                <a:cs typeface="Arial"/>
              </a:rPr>
              <a:t>ем</a:t>
            </a:r>
            <a:r>
              <a:rPr lang="ru-RU" sz="2000" b="1" spc="5" dirty="0" smtClean="0">
                <a:latin typeface="Arial"/>
                <a:cs typeface="Arial"/>
              </a:rPr>
              <a:t> </a:t>
            </a:r>
            <a:r>
              <a:rPr lang="ru-RU" sz="2000" b="1" spc="40" dirty="0" smtClean="0">
                <a:latin typeface="Arial"/>
                <a:cs typeface="Arial"/>
              </a:rPr>
              <a:t>и</a:t>
            </a:r>
            <a:r>
              <a:rPr lang="ru-RU" sz="2000" b="1" spc="-10" dirty="0" smtClean="0">
                <a:latin typeface="Arial"/>
                <a:cs typeface="Arial"/>
              </a:rPr>
              <a:t>нт</a:t>
            </a:r>
            <a:r>
              <a:rPr lang="ru-RU" sz="2000" b="1" spc="15" dirty="0" smtClean="0">
                <a:latin typeface="Arial"/>
                <a:cs typeface="Arial"/>
              </a:rPr>
              <a:t>е</a:t>
            </a:r>
            <a:r>
              <a:rPr lang="ru-RU" sz="2000" b="1" spc="45" dirty="0" smtClean="0">
                <a:latin typeface="Arial"/>
                <a:cs typeface="Arial"/>
              </a:rPr>
              <a:t>р</a:t>
            </a:r>
            <a:r>
              <a:rPr lang="ru-RU" sz="2000" b="1" spc="15" dirty="0" smtClean="0">
                <a:latin typeface="Arial"/>
                <a:cs typeface="Arial"/>
              </a:rPr>
              <a:t>а</a:t>
            </a:r>
            <a:r>
              <a:rPr lang="ru-RU" sz="2000" b="1" spc="40" dirty="0" smtClean="0">
                <a:latin typeface="Arial"/>
                <a:cs typeface="Arial"/>
              </a:rPr>
              <a:t>к</a:t>
            </a:r>
            <a:r>
              <a:rPr lang="ru-RU" sz="2000" b="1" spc="-10" dirty="0" smtClean="0">
                <a:latin typeface="Arial"/>
                <a:cs typeface="Arial"/>
              </a:rPr>
              <a:t>т</a:t>
            </a:r>
            <a:r>
              <a:rPr lang="ru-RU" sz="2000" b="1" spc="40" dirty="0" smtClean="0">
                <a:latin typeface="Arial"/>
                <a:cs typeface="Arial"/>
              </a:rPr>
              <a:t>и</a:t>
            </a:r>
            <a:r>
              <a:rPr lang="ru-RU" sz="2000" b="1" spc="-35" dirty="0" smtClean="0">
                <a:latin typeface="Arial"/>
                <a:cs typeface="Arial"/>
              </a:rPr>
              <a:t>в</a:t>
            </a:r>
            <a:r>
              <a:rPr lang="ru-RU" sz="2000" b="1" spc="-10" dirty="0" smtClean="0">
                <a:latin typeface="Arial"/>
                <a:cs typeface="Arial"/>
              </a:rPr>
              <a:t>н</a:t>
            </a:r>
            <a:r>
              <a:rPr lang="ru-RU" sz="2000" b="1" spc="45" dirty="0" smtClean="0">
                <a:latin typeface="Arial"/>
                <a:cs typeface="Arial"/>
              </a:rPr>
              <a:t>о</a:t>
            </a:r>
            <a:r>
              <a:rPr lang="ru-RU" sz="2000" b="1" spc="15" dirty="0" smtClean="0">
                <a:latin typeface="Arial"/>
                <a:cs typeface="Arial"/>
              </a:rPr>
              <a:t>й</a:t>
            </a:r>
            <a:r>
              <a:rPr lang="ru-RU" sz="2000" b="1" spc="-229" dirty="0" smtClean="0">
                <a:latin typeface="Arial"/>
                <a:cs typeface="Arial"/>
              </a:rPr>
              <a:t> </a:t>
            </a:r>
            <a:r>
              <a:rPr lang="ru-RU" sz="2000" b="1" dirty="0" smtClean="0">
                <a:latin typeface="Arial"/>
                <a:cs typeface="Arial"/>
              </a:rPr>
              <a:t>д</a:t>
            </a:r>
            <a:r>
              <a:rPr lang="ru-RU" sz="2000" b="1" spc="45" dirty="0" smtClean="0">
                <a:latin typeface="Arial"/>
                <a:cs typeface="Arial"/>
              </a:rPr>
              <a:t>о</a:t>
            </a:r>
            <a:r>
              <a:rPr lang="ru-RU" sz="2000" b="1" spc="15" dirty="0" smtClean="0">
                <a:latin typeface="Arial"/>
                <a:cs typeface="Arial"/>
              </a:rPr>
              <a:t>с</a:t>
            </a:r>
            <a:r>
              <a:rPr lang="ru-RU" sz="2000" b="1" spc="40" dirty="0" smtClean="0">
                <a:latin typeface="Arial"/>
                <a:cs typeface="Arial"/>
              </a:rPr>
              <a:t>к</a:t>
            </a:r>
            <a:r>
              <a:rPr lang="ru-RU" sz="2000" b="1" spc="15" dirty="0" smtClean="0">
                <a:latin typeface="Arial"/>
                <a:cs typeface="Arial"/>
              </a:rPr>
              <a:t>и</a:t>
            </a:r>
            <a:endParaRPr lang="ru-RU" sz="2000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308306" y="4581129"/>
            <a:ext cx="1571625" cy="197497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/>
          <p:cNvSpPr/>
          <p:nvPr/>
        </p:nvSpPr>
        <p:spPr>
          <a:xfrm>
            <a:off x="6084170" y="5373217"/>
            <a:ext cx="1285875" cy="12858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 l="14584" t="22530" r="12000" b="12704"/>
          <a:stretch>
            <a:fillRect/>
          </a:stretch>
        </p:blipFill>
        <p:spPr bwMode="auto">
          <a:xfrm>
            <a:off x="394746" y="944725"/>
            <a:ext cx="8497734" cy="5220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1475656" y="188640"/>
            <a:ext cx="6696744" cy="6480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dirty="0" smtClean="0">
                <a:solidFill>
                  <a:srgbClr val="FF0000"/>
                </a:solidFill>
              </a:rPr>
              <a:t>Технические вопросы</a:t>
            </a:r>
            <a:endParaRPr lang="ru-RU" sz="36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611560" y="188640"/>
            <a:ext cx="7128792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2"/>
                </a:solidFill>
              </a:rPr>
              <a:t>Наш  </a:t>
            </a:r>
            <a:r>
              <a:rPr lang="ru-RU" sz="2800" dirty="0" err="1" smtClean="0">
                <a:solidFill>
                  <a:schemeClr val="tx2"/>
                </a:solidFill>
              </a:rPr>
              <a:t>агрегатор</a:t>
            </a:r>
            <a:r>
              <a:rPr lang="ru-RU" sz="2800" dirty="0" smtClean="0">
                <a:solidFill>
                  <a:schemeClr val="tx2"/>
                </a:solidFill>
              </a:rPr>
              <a:t> </a:t>
            </a:r>
            <a:endParaRPr lang="ru-RU" sz="2800" dirty="0">
              <a:solidFill>
                <a:schemeClr val="tx2"/>
              </a:solidFill>
            </a:endParaRPr>
          </a:p>
        </p:txBody>
      </p:sp>
      <p:pic>
        <p:nvPicPr>
          <p:cNvPr id="3073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14282" y="1071546"/>
            <a:ext cx="8643998" cy="505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2384887"/>
            <a:ext cx="7772400" cy="3000396"/>
          </a:xfrm>
        </p:spPr>
        <p:txBody>
          <a:bodyPr>
            <a:normAutofit/>
          </a:bodyPr>
          <a:lstStyle/>
          <a:p>
            <a:r>
              <a:rPr lang="ru-RU" b="1" dirty="0" smtClean="0">
                <a:latin typeface="Cambria Math" pitchFamily="18" charset="0"/>
                <a:ea typeface="Cambria Math" pitchFamily="18" charset="0"/>
              </a:rPr>
              <a:t>Рекомендации </a:t>
            </a:r>
            <a:br>
              <a:rPr lang="ru-RU" b="1" dirty="0" smtClean="0">
                <a:latin typeface="Cambria Math" pitchFamily="18" charset="0"/>
                <a:ea typeface="Cambria Math" pitchFamily="18" charset="0"/>
              </a:rPr>
            </a:br>
            <a:r>
              <a:rPr lang="ru-RU" b="1" dirty="0" smtClean="0">
                <a:latin typeface="Cambria Math" pitchFamily="18" charset="0"/>
                <a:ea typeface="Cambria Math" pitchFamily="18" charset="0"/>
              </a:rPr>
              <a:t>по скачиванию электронного сертификата</a:t>
            </a:r>
            <a:endParaRPr lang="ru-RU" b="1" dirty="0">
              <a:latin typeface="Cambria Math" pitchFamily="18" charset="0"/>
              <a:ea typeface="Cambria Math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606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TextShape 1"/>
          <p:cNvSpPr txBox="1"/>
          <p:nvPr/>
        </p:nvSpPr>
        <p:spPr>
          <a:xfrm>
            <a:off x="457200" y="221040"/>
            <a:ext cx="8228880" cy="12499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endParaRPr lang="ru-RU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258" name="TextShape 2"/>
          <p:cNvSpPr txBox="1"/>
          <p:nvPr/>
        </p:nvSpPr>
        <p:spPr>
          <a:xfrm>
            <a:off x="457200" y="1604520"/>
            <a:ext cx="8046000" cy="39772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pPr algn="ctr"/>
            <a:endParaRPr lang="ru-RU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14643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14291"/>
            <a:ext cx="8509059" cy="47863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6434" name="Picture 2"/>
          <p:cNvPicPr>
            <a:picLocks noChangeAspect="1" noChangeArrowheads="1"/>
          </p:cNvPicPr>
          <p:nvPr/>
        </p:nvPicPr>
        <p:blipFill>
          <a:blip r:embed="rId3"/>
          <a:srcRect l="36103" t="33620" r="34670" b="25798"/>
          <a:stretch>
            <a:fillRect/>
          </a:stretch>
        </p:blipFill>
        <p:spPr bwMode="auto">
          <a:xfrm>
            <a:off x="5000628" y="3500438"/>
            <a:ext cx="3857652" cy="30129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heel spokes="8"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 t="12695" b="9179"/>
          <a:stretch>
            <a:fillRect/>
          </a:stretch>
        </p:blipFill>
        <p:spPr bwMode="auto">
          <a:xfrm>
            <a:off x="395536" y="1772818"/>
            <a:ext cx="8429684" cy="4939303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4" name="Овал 3"/>
          <p:cNvSpPr/>
          <p:nvPr/>
        </p:nvSpPr>
        <p:spPr>
          <a:xfrm>
            <a:off x="323528" y="2996955"/>
            <a:ext cx="2428892" cy="642943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44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0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42" name="CustomShape 3"/>
          <p:cNvSpPr/>
          <p:nvPr/>
        </p:nvSpPr>
        <p:spPr>
          <a:xfrm>
            <a:off x="3184506" y="3903669"/>
            <a:ext cx="2818080" cy="684360"/>
          </a:xfrm>
          <a:prstGeom prst="rect">
            <a:avLst/>
          </a:prstGeom>
        </p:spPr>
      </p:sp>
      <p:sp>
        <p:nvSpPr>
          <p:cNvPr id="248" name="CustomShape 8"/>
          <p:cNvSpPr/>
          <p:nvPr/>
        </p:nvSpPr>
        <p:spPr>
          <a:xfrm>
            <a:off x="1835696" y="1196752"/>
            <a:ext cx="6480720" cy="1944216"/>
          </a:xfrm>
          <a:prstGeom prst="verticalScroll">
            <a:avLst>
              <a:gd name="adj" fmla="val 12500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90000" tIns="45000" rIns="90000" bIns="45000" anchor="ctr"/>
          <a:lstStyle/>
          <a:p>
            <a:pPr algn="ctr"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3333CC"/>
                </a:solidFill>
                <a:latin typeface="Times New Roman" pitchFamily="18" charset="0"/>
                <a:cs typeface="Times New Roman" pitchFamily="18" charset="0"/>
              </a:rPr>
              <a:t>   </a:t>
            </a:r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Музык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тражает</a:t>
            </a:r>
            <a:r>
              <a:rPr lang="ru-RU" sz="16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изнь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илософском</a:t>
            </a:r>
            <a:r>
              <a:rPr lang="ru-RU" sz="16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ровне.</a:t>
            </a:r>
          </a:p>
          <a:p>
            <a:pPr>
              <a:lnSpc>
                <a:spcPct val="100000"/>
              </a:lnSpc>
            </a:pP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2. Познание музыки-</a:t>
            </a:r>
            <a:r>
              <a:rPr lang="ru-RU" sz="16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амостоятельная</a:t>
            </a:r>
            <a:r>
              <a:rPr lang="ru-RU" sz="16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еятельность учащихся. </a:t>
            </a:r>
          </a:p>
          <a:p>
            <a:pPr>
              <a:lnSpc>
                <a:spcPct val="100000"/>
              </a:lnSpc>
            </a:pPr>
            <a:endParaRPr lang="ru-RU" sz="16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  <a:tabLst>
                <a:tab pos="92075" algn="l"/>
                <a:tab pos="447675" algn="l"/>
              </a:tabLst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3. Деятельность педагога- методическое творчество в</a:t>
            </a:r>
            <a:endParaRPr lang="ru-RU" sz="16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   организации исследовательской деятельности школьников.</a:t>
            </a:r>
            <a:endParaRPr lang="ru-RU" sz="16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00000"/>
              </a:lnSpc>
            </a:pPr>
            <a:endParaRPr lang="ru-RU" sz="1600" dirty="0" smtClean="0"/>
          </a:p>
          <a:p>
            <a:pPr algn="ctr">
              <a:lnSpc>
                <a:spcPct val="100000"/>
              </a:lnSpc>
            </a:pPr>
            <a:endParaRPr dirty="0"/>
          </a:p>
        </p:txBody>
      </p:sp>
      <p:sp>
        <p:nvSpPr>
          <p:cNvPr id="250" name="CustomShape 10"/>
          <p:cNvSpPr/>
          <p:nvPr/>
        </p:nvSpPr>
        <p:spPr>
          <a:xfrm>
            <a:off x="2308194" y="252369"/>
            <a:ext cx="5183280" cy="820800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400" dirty="0">
                <a:solidFill>
                  <a:srgbClr val="002060"/>
                </a:solidFill>
                <a:latin typeface="Times New Roman"/>
              </a:rPr>
              <a:t>Авторский подход к методике</a:t>
            </a:r>
            <a:endParaRPr dirty="0">
              <a:solidFill>
                <a:srgbClr val="002060"/>
              </a:solidFill>
            </a:endParaRPr>
          </a:p>
          <a:p>
            <a:pPr algn="ctr">
              <a:lnSpc>
                <a:spcPct val="100000"/>
              </a:lnSpc>
            </a:pPr>
            <a:r>
              <a:rPr lang="ru-RU" sz="2400" dirty="0">
                <a:solidFill>
                  <a:srgbClr val="002060"/>
                </a:solidFill>
                <a:latin typeface="Times New Roman"/>
              </a:rPr>
              <a:t> музыкального образования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15" name="Выноска со стрелкой вниз 14"/>
          <p:cNvSpPr/>
          <p:nvPr/>
        </p:nvSpPr>
        <p:spPr>
          <a:xfrm>
            <a:off x="2563785" y="3282948"/>
            <a:ext cx="4896544" cy="1241443"/>
          </a:xfrm>
          <a:prstGeom prst="downArrowCallou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+mj-lt"/>
              </a:rPr>
              <a:t>Следующее   отличие   программы – 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</a:rPr>
              <a:t>«</a:t>
            </a:r>
            <a:r>
              <a:rPr lang="ru-RU" sz="1600" b="1" dirty="0" err="1" smtClean="0">
                <a:solidFill>
                  <a:srgbClr val="002060"/>
                </a:solidFill>
                <a:latin typeface="+mj-lt"/>
              </a:rPr>
              <a:t>проблематизация</a:t>
            </a:r>
            <a:r>
              <a:rPr lang="ru-RU" sz="1600" b="1" dirty="0" smtClean="0">
                <a:solidFill>
                  <a:srgbClr val="002060"/>
                </a:solidFill>
                <a:latin typeface="+mj-lt"/>
              </a:rPr>
              <a:t>   содержания музыкального   образования</a:t>
            </a:r>
            <a:r>
              <a:rPr lang="ru-RU" b="1" dirty="0" smtClean="0">
                <a:solidFill>
                  <a:srgbClr val="002060"/>
                </a:solidFill>
                <a:latin typeface="+mj-lt"/>
              </a:rPr>
              <a:t>»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6" name="Загнутый угол 15"/>
          <p:cNvSpPr/>
          <p:nvPr/>
        </p:nvSpPr>
        <p:spPr>
          <a:xfrm>
            <a:off x="2563785" y="4560903"/>
            <a:ext cx="4824536" cy="1584176"/>
          </a:xfrm>
          <a:prstGeom prst="foldedCorner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2000" b="1" dirty="0" smtClean="0"/>
          </a:p>
          <a:p>
            <a:r>
              <a:rPr lang="ru-RU" sz="1400" b="1" dirty="0" smtClean="0"/>
              <a:t>Весь материал, представленный в УМК:  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rgbClr val="C00000"/>
                </a:solidFill>
              </a:rPr>
              <a:t>музыкальный, 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rgbClr val="C00000"/>
                </a:solidFill>
              </a:rPr>
              <a:t>изобразительный,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rgbClr val="C00000"/>
                </a:solidFill>
              </a:rPr>
              <a:t>литературный, 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rgbClr val="C00000"/>
                </a:solidFill>
              </a:rPr>
              <a:t>исторический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rgbClr val="C00000"/>
                </a:solidFill>
              </a:rPr>
              <a:t>географический </a:t>
            </a:r>
          </a:p>
          <a:p>
            <a:r>
              <a:rPr lang="ru-RU" sz="1400" b="1" dirty="0" smtClean="0">
                <a:solidFill>
                  <a:srgbClr val="C00000"/>
                </a:solidFill>
              </a:rPr>
              <a:t> </a:t>
            </a:r>
            <a:r>
              <a:rPr lang="ru-RU" sz="1400" b="1" dirty="0" smtClean="0"/>
              <a:t>выводит учащихся в проблемное поле культуры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pic>
        <p:nvPicPr>
          <p:cNvPr id="17" name="Picture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67544" y="1412776"/>
            <a:ext cx="1080000" cy="1800000"/>
          </a:xfrm>
          <a:prstGeom prst="rect">
            <a:avLst/>
          </a:prstGeom>
        </p:spPr>
      </p:pic>
      <p:pic>
        <p:nvPicPr>
          <p:cNvPr id="18" name="Picture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7544" y="3861048"/>
            <a:ext cx="1080000" cy="1800000"/>
          </a:xfrm>
          <a:prstGeom prst="rect">
            <a:avLst/>
          </a:prstGeom>
        </p:spPr>
      </p:pic>
      <p:pic>
        <p:nvPicPr>
          <p:cNvPr id="20" name="Рисунок 7" descr="VG_logo3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12360" y="5805264"/>
            <a:ext cx="1121040" cy="765621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 t="10742" r="1855" b="49016"/>
          <a:stretch>
            <a:fillRect/>
          </a:stretch>
        </p:blipFill>
        <p:spPr bwMode="auto">
          <a:xfrm>
            <a:off x="179512" y="404664"/>
            <a:ext cx="7464354" cy="2566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431540" y="3727387"/>
            <a:ext cx="5072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515151"/>
                </a:solidFill>
                <a:latin typeface="Cambria Math" pitchFamily="18" charset="0"/>
                <a:ea typeface="Cambria Math" pitchFamily="18" charset="0"/>
              </a:rPr>
              <a:t>2. Вводим индивидуальный код из памятки участника образовательного семинара.</a:t>
            </a:r>
            <a:endParaRPr lang="ru-RU" b="1" dirty="0">
              <a:solidFill>
                <a:srgbClr val="515151"/>
              </a:solidFill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4000496" y="1761989"/>
            <a:ext cx="1687628" cy="642943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5616122" y="2467250"/>
          <a:ext cx="2991387" cy="4237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Acrobat Document" r:id="rId5" imgW="4001058" imgH="5668166" progId="AcroExch.Document.7">
                  <p:embed/>
                </p:oleObj>
              </mc:Choice>
              <mc:Fallback>
                <p:oleObj name="Acrobat Document" r:id="rId5" imgW="4001058" imgH="5668166" progId="AcroExch.Document.7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16122" y="2467250"/>
                        <a:ext cx="2991387" cy="4237799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rgbClr val="777777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вал 5"/>
          <p:cNvSpPr/>
          <p:nvPr/>
        </p:nvSpPr>
        <p:spPr>
          <a:xfrm>
            <a:off x="6768244" y="4123429"/>
            <a:ext cx="1252160" cy="28575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7" name="Прямая со стрелкой 6"/>
          <p:cNvCxnSpPr>
            <a:stCxn id="6" idx="1"/>
            <a:endCxn id="4" idx="5"/>
          </p:cNvCxnSpPr>
          <p:nvPr/>
        </p:nvCxnSpPr>
        <p:spPr>
          <a:xfrm flipH="1" flipV="1">
            <a:off x="5440982" y="2310772"/>
            <a:ext cx="1510643" cy="1854507"/>
          </a:xfrm>
          <a:prstGeom prst="straightConnector1">
            <a:avLst/>
          </a:prstGeom>
          <a:ln w="190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945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/>
          <a:srcRect t="11719" r="1855" b="18945"/>
          <a:stretch>
            <a:fillRect/>
          </a:stretch>
        </p:blipFill>
        <p:spPr bwMode="auto">
          <a:xfrm>
            <a:off x="500037" y="785797"/>
            <a:ext cx="8224397" cy="4357719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3" name="TextBox 2"/>
          <p:cNvSpPr txBox="1"/>
          <p:nvPr/>
        </p:nvSpPr>
        <p:spPr>
          <a:xfrm>
            <a:off x="928662" y="5500703"/>
            <a:ext cx="7358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515151"/>
                </a:solidFill>
                <a:latin typeface="Cambria Math" pitchFamily="18" charset="0"/>
                <a:ea typeface="Cambria Math" pitchFamily="18" charset="0"/>
              </a:rPr>
              <a:t>3.Переходим на страницу участника семинара.</a:t>
            </a:r>
            <a:endParaRPr lang="ru-RU" b="1" dirty="0">
              <a:solidFill>
                <a:srgbClr val="515151"/>
              </a:solidFill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964345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15516" y="6165304"/>
            <a:ext cx="3564396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57224" y="6143644"/>
            <a:ext cx="6858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515151"/>
                </a:solidFill>
                <a:latin typeface="Cambria Math" pitchFamily="18" charset="0"/>
                <a:ea typeface="Cambria Math" pitchFamily="18" charset="0"/>
              </a:rPr>
              <a:t>4. Вносим необходимые данные для оформления сертификата</a:t>
            </a:r>
            <a:r>
              <a:rPr lang="ru-RU" dirty="0" smtClean="0">
                <a:solidFill>
                  <a:srgbClr val="515151"/>
                </a:solidFill>
              </a:rPr>
              <a:t>.</a:t>
            </a:r>
            <a:endParaRPr lang="ru-RU" dirty="0">
              <a:solidFill>
                <a:srgbClr val="515151"/>
              </a:solidFill>
            </a:endParaRPr>
          </a:p>
        </p:txBody>
      </p:sp>
      <p:pic>
        <p:nvPicPr>
          <p:cNvPr id="5" name="Рисунок 4"/>
          <p:cNvPicPr/>
          <p:nvPr/>
        </p:nvPicPr>
        <p:blipFill>
          <a:blip r:embed="rId3" cstate="print"/>
          <a:srcRect l="11215" t="12500" r="14018" b="5357"/>
          <a:stretch>
            <a:fillRect/>
          </a:stretch>
        </p:blipFill>
        <p:spPr bwMode="auto">
          <a:xfrm>
            <a:off x="500034" y="357165"/>
            <a:ext cx="7858180" cy="5357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819782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99592" y="5697252"/>
            <a:ext cx="6858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515151"/>
                </a:solidFill>
                <a:latin typeface="Cambria Math" pitchFamily="18" charset="0"/>
                <a:ea typeface="Cambria Math" pitchFamily="18" charset="0"/>
              </a:rPr>
              <a:t>5. Заполняем анкету. </a:t>
            </a:r>
            <a:endParaRPr lang="ru-RU" b="1" dirty="0">
              <a:solidFill>
                <a:srgbClr val="515151"/>
              </a:solidFill>
              <a:latin typeface="Cambria Math" pitchFamily="18" charset="0"/>
              <a:ea typeface="Cambria Math" pitchFamily="18" charset="0"/>
            </a:endParaRPr>
          </a:p>
        </p:txBody>
      </p:sp>
      <p:pic>
        <p:nvPicPr>
          <p:cNvPr id="4" name="Рисунок 3"/>
          <p:cNvPicPr/>
          <p:nvPr/>
        </p:nvPicPr>
        <p:blipFill>
          <a:blip r:embed="rId3" cstate="print"/>
          <a:srcRect l="12331" t="27089" r="13682" b="4544"/>
          <a:stretch>
            <a:fillRect/>
          </a:stretch>
        </p:blipFill>
        <p:spPr bwMode="auto">
          <a:xfrm>
            <a:off x="428596" y="571482"/>
            <a:ext cx="8215370" cy="4929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0585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t="10690" r="1855" b="30664"/>
          <a:stretch>
            <a:fillRect/>
          </a:stretch>
        </p:blipFill>
        <p:spPr bwMode="auto">
          <a:xfrm>
            <a:off x="539552" y="1628803"/>
            <a:ext cx="7929586" cy="256220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58" y="476229"/>
            <a:ext cx="8435280" cy="5429288"/>
          </a:xfrm>
        </p:spPr>
        <p:txBody>
          <a:bodyPr>
            <a:normAutofit/>
          </a:bodyPr>
          <a:lstStyle/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endParaRPr lang="ru-RU" b="1" dirty="0" smtClean="0">
              <a:solidFill>
                <a:srgbClr val="002060"/>
              </a:solidFill>
              <a:latin typeface="Bookman Old Style" pitchFamily="18" charset="0"/>
              <a:ea typeface="Cambria Math" pitchFamily="18" charset="0"/>
            </a:endParaRPr>
          </a:p>
          <a:p>
            <a:pPr>
              <a:buNone/>
            </a:pPr>
            <a:r>
              <a:rPr lang="ru-RU" sz="1600" b="1" dirty="0" smtClean="0">
                <a:solidFill>
                  <a:srgbClr val="002060"/>
                </a:solidFill>
                <a:latin typeface="Bookman Old Style" pitchFamily="18" charset="0"/>
                <a:ea typeface="Cambria Math" pitchFamily="18" charset="0"/>
              </a:rPr>
              <a:t>	</a:t>
            </a:r>
          </a:p>
          <a:p>
            <a:pPr>
              <a:buNone/>
            </a:pPr>
            <a:r>
              <a:rPr lang="ru-RU" sz="1600" b="1" dirty="0" smtClean="0">
                <a:latin typeface="Cambria Math" pitchFamily="18" charset="0"/>
                <a:ea typeface="Cambria Math" pitchFamily="18" charset="0"/>
              </a:rPr>
              <a:t>Если у Вас все-таки возникнут затруднения, обратитесь ко мне по </a:t>
            </a:r>
            <a:r>
              <a:rPr lang="en-US" sz="1600" b="1" dirty="0" smtClean="0">
                <a:latin typeface="Cambria Math" pitchFamily="18" charset="0"/>
                <a:ea typeface="Cambria Math" pitchFamily="18" charset="0"/>
              </a:rPr>
              <a:t>e-mail</a:t>
            </a:r>
            <a:r>
              <a:rPr lang="ru-RU" sz="1600" b="1" dirty="0" smtClean="0">
                <a:latin typeface="Cambria Math" pitchFamily="18" charset="0"/>
                <a:ea typeface="Cambria Math" pitchFamily="18" charset="0"/>
              </a:rPr>
              <a:t>.</a:t>
            </a:r>
            <a:r>
              <a:rPr lang="en-US" sz="1600" b="1" dirty="0" smtClean="0">
                <a:latin typeface="Bookman Old Style" pitchFamily="18" charset="0"/>
              </a:rPr>
              <a:t> </a:t>
            </a:r>
            <a:endParaRPr lang="ru-RU" sz="1600" b="1" dirty="0" smtClean="0">
              <a:latin typeface="Bookman Old Style" pitchFamily="18" charset="0"/>
            </a:endParaRPr>
          </a:p>
          <a:p>
            <a:pPr>
              <a:buNone/>
            </a:pPr>
            <a:endParaRPr lang="ru-RU" sz="1600" b="1" dirty="0" smtClean="0">
              <a:solidFill>
                <a:srgbClr val="002060"/>
              </a:solidFill>
              <a:latin typeface="Bookman Old Style" pitchFamily="18" charset="0"/>
            </a:endParaRPr>
          </a:p>
          <a:p>
            <a:pPr>
              <a:buNone/>
            </a:pPr>
            <a:endParaRPr lang="ru-RU" sz="1600" b="1" dirty="0" smtClean="0">
              <a:solidFill>
                <a:srgbClr val="002060"/>
              </a:solidFill>
              <a:latin typeface="Bookman Old Style" pitchFamily="18" charset="0"/>
            </a:endParaRPr>
          </a:p>
          <a:p>
            <a:pPr>
              <a:buNone/>
            </a:pPr>
            <a:r>
              <a:rPr lang="en-US" sz="1600" b="1" dirty="0" smtClean="0">
                <a:solidFill>
                  <a:srgbClr val="002060"/>
                </a:solidFill>
                <a:latin typeface="Bookman Old Style" pitchFamily="18" charset="0"/>
              </a:rPr>
              <a:t>Fedotova.kn@rosuchtbnik.ru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8596" y="285730"/>
            <a:ext cx="81415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00"/>
                </a:solidFill>
                <a:latin typeface="Cambria Math" pitchFamily="18" charset="0"/>
                <a:ea typeface="Cambria Math" pitchFamily="18" charset="0"/>
              </a:rPr>
              <a:t>6. Сертификат будет находиться в Вашем личном кабинете в разделе «Мероприятия»!</a:t>
            </a:r>
          </a:p>
        </p:txBody>
      </p:sp>
      <p:sp>
        <p:nvSpPr>
          <p:cNvPr id="6" name="Овал 5"/>
          <p:cNvSpPr/>
          <p:nvPr/>
        </p:nvSpPr>
        <p:spPr>
          <a:xfrm>
            <a:off x="714348" y="2381245"/>
            <a:ext cx="2428892" cy="642943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 flipH="1" flipV="1">
            <a:off x="827240" y="3305160"/>
            <a:ext cx="344" cy="1275968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47211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14285" y="285728"/>
            <a:ext cx="7620053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Выноска-облако 4"/>
          <p:cNvSpPr/>
          <p:nvPr/>
        </p:nvSpPr>
        <p:spPr>
          <a:xfrm>
            <a:off x="4714876" y="1809739"/>
            <a:ext cx="2786082" cy="1143008"/>
          </a:xfrm>
          <a:prstGeom prst="cloudCallout">
            <a:avLst>
              <a:gd name="adj1" fmla="val -80900"/>
              <a:gd name="adj2" fmla="val 58475"/>
            </a:avLst>
          </a:prstGeom>
          <a:solidFill>
            <a:srgbClr val="FF3399">
              <a:alpha val="5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371BDD"/>
                </a:solidFill>
              </a:rPr>
              <a:t>скидка 15%</a:t>
            </a:r>
            <a:endParaRPr lang="ru-RU" dirty="0">
              <a:solidFill>
                <a:srgbClr val="371BDD"/>
              </a:solidFill>
            </a:endParaRPr>
          </a:p>
        </p:txBody>
      </p:sp>
      <p:sp>
        <p:nvSpPr>
          <p:cNvPr id="6" name="Выноска-облако 5"/>
          <p:cNvSpPr/>
          <p:nvPr/>
        </p:nvSpPr>
        <p:spPr>
          <a:xfrm>
            <a:off x="3786182" y="4572008"/>
            <a:ext cx="2786082" cy="1143008"/>
          </a:xfrm>
          <a:prstGeom prst="cloudCallout">
            <a:avLst>
              <a:gd name="adj1" fmla="val -70373"/>
              <a:gd name="adj2" fmla="val -87437"/>
            </a:avLst>
          </a:prstGeom>
          <a:solidFill>
            <a:srgbClr val="FF3399">
              <a:alpha val="7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371BDD"/>
                </a:solidFill>
              </a:rPr>
              <a:t>10 учебников </a:t>
            </a:r>
          </a:p>
          <a:p>
            <a:pPr algn="ctr"/>
            <a:r>
              <a:rPr lang="ru-RU" dirty="0" smtClean="0">
                <a:solidFill>
                  <a:srgbClr val="371BDD"/>
                </a:solidFill>
              </a:rPr>
              <a:t>на 60 дней</a:t>
            </a:r>
            <a:endParaRPr lang="ru-RU" dirty="0">
              <a:solidFill>
                <a:srgbClr val="371BDD"/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/>
          <a:srcRect l="35469" t="15833" r="36406" b="13333"/>
          <a:stretch>
            <a:fillRect/>
          </a:stretch>
        </p:blipFill>
        <p:spPr bwMode="auto">
          <a:xfrm>
            <a:off x="6643702" y="3333749"/>
            <a:ext cx="2500298" cy="3524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7902234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C:\Users\ivanova.ey\Desktop\слайд 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25717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29" name="Picture 5" descr="C:\Users\ivanova.ey\Desktop\тоже слайд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14480" y="1714489"/>
            <a:ext cx="6000792" cy="30637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/>
          <a:srcRect l="5953" r="7441" b="20618"/>
          <a:stretch>
            <a:fillRect/>
          </a:stretch>
        </p:blipFill>
        <p:spPr bwMode="auto">
          <a:xfrm>
            <a:off x="3643306" y="785793"/>
            <a:ext cx="1714512" cy="1020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2" name="Picture 8" descr="C:\Users\ivanova.ey\Desktop\тоже слайд1 - копия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4282" y="2643182"/>
            <a:ext cx="1520272" cy="2079617"/>
          </a:xfrm>
          <a:prstGeom prst="rect">
            <a:avLst/>
          </a:prstGeom>
          <a:noFill/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2844" y="6286520"/>
            <a:ext cx="2357453" cy="37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74" name="AutoShape 2" descr="https://mail.drofa.ru/WorldClient.dll?Session=T876P08R34S11&amp;View=Attachment&amp;Number=19680&amp;FolderID=0&amp;Part=2&amp;Filename=%D1%81%D0%BA%D0%B8%D0%B4%D0%BA%D0%B8%20%D0%BD%D0%B0%20%D0%BA%D1%83%D1%80%D1%81%D1%8B%20%D0%BF%D0%BE%D0%B2%D1%8B%D1%88%D0%B5%D0%BD%D0%B8%D1%8F%20%D0%BA%D0%B2%D0%B0%D0%BB%D0%B8%D1%84%D0%B8%D0%BA%D0%B0%D1%86%D0%B8%D0%B8-06.jpg&amp;OpenAttachment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5" name="Picture 3" descr="C:\Users\dolgih.e\Pictures\скидки на курсы повышения квалификации-06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15074" y="5357826"/>
            <a:ext cx="2571768" cy="900119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1928794" y="4786322"/>
            <a:ext cx="63579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Скидки и акции на обучение. Специальные предложения! </a:t>
            </a:r>
            <a:endParaRPr lang="ru-RU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2928926" y="5214950"/>
            <a:ext cx="31432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/>
              <a:t>Педагоги, посетившие очный региональный семинар в 2017 году и активировавшие сертификат участника, могут записаться на курсы повышения квалификации и получить 30% скидку на обучение.</a:t>
            </a:r>
            <a:endParaRPr lang="ru-RU" sz="1400" dirty="0"/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:\Users\ivanova.ey\Desktop\слайд 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25717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/>
          <a:srcRect l="5953" r="7441" b="20618"/>
          <a:stretch>
            <a:fillRect/>
          </a:stretch>
        </p:blipFill>
        <p:spPr bwMode="auto">
          <a:xfrm>
            <a:off x="3643306" y="785793"/>
            <a:ext cx="1714512" cy="1020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 descr="C:\Users\ivanova.ey\Desktop\слайд 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57224" y="2571744"/>
            <a:ext cx="7578784" cy="3628003"/>
          </a:xfrm>
          <a:prstGeom prst="rect">
            <a:avLst/>
          </a:prstGeom>
          <a:noFill/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2844" y="6286520"/>
            <a:ext cx="2357453" cy="37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:\Users\ivanova.ey\Desktop\слайд 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25717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/>
          <a:srcRect l="5953" r="7441" b="20618"/>
          <a:stretch>
            <a:fillRect/>
          </a:stretch>
        </p:blipFill>
        <p:spPr bwMode="auto">
          <a:xfrm>
            <a:off x="3643306" y="785793"/>
            <a:ext cx="1714512" cy="1020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 descr="C:\Users\ivanova.ey\Desktop\слайд 3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42976" y="1857364"/>
            <a:ext cx="7215238" cy="48577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2844" y="6286520"/>
            <a:ext cx="2357453" cy="376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" name="TextShape 2"/>
          <p:cNvSpPr txBox="1"/>
          <p:nvPr/>
        </p:nvSpPr>
        <p:spPr>
          <a:xfrm>
            <a:off x="395640" y="1845000"/>
            <a:ext cx="8280720" cy="237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endParaRPr lang="ru-RU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262" name="CustomShape 3"/>
          <p:cNvSpPr/>
          <p:nvPr/>
        </p:nvSpPr>
        <p:spPr>
          <a:xfrm>
            <a:off x="539640" y="3717000"/>
            <a:ext cx="8064360" cy="1439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5080" tIns="72720" rIns="145080" bIns="72720" anchor="ctr"/>
          <a:lstStyle/>
          <a:p>
            <a:pPr algn="ctr"/>
            <a:endParaRPr lang="ru-RU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263" name="CustomShape 4"/>
          <p:cNvSpPr/>
          <p:nvPr/>
        </p:nvSpPr>
        <p:spPr>
          <a:xfrm>
            <a:off x="500034" y="3047997"/>
            <a:ext cx="8280720" cy="9525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anchor="ctr"/>
          <a:lstStyle/>
          <a:p>
            <a:pPr algn="ctr"/>
            <a:r>
              <a:rPr lang="ru-RU" sz="4000" b="1" spc="-1" dirty="0">
                <a:solidFill>
                  <a:srgbClr val="E46C0A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Благодарим за внимание!</a:t>
            </a:r>
            <a:endParaRPr lang="ru-RU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264" name="CustomShape 5"/>
          <p:cNvSpPr/>
          <p:nvPr/>
        </p:nvSpPr>
        <p:spPr>
          <a:xfrm>
            <a:off x="714348" y="3810004"/>
            <a:ext cx="8064360" cy="156713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5080" tIns="72720" rIns="145080" bIns="72720" anchor="ctr"/>
          <a:lstStyle/>
          <a:p>
            <a:pPr algn="ctr"/>
            <a:r>
              <a:rPr lang="ru-RU" sz="2000" spc="-1" dirty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Контакты для связи:</a:t>
            </a:r>
            <a:endParaRPr lang="ru-RU" sz="1600" spc="-1" dirty="0">
              <a:solidFill>
                <a:srgbClr val="FFC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/>
            <a:r>
              <a:rPr lang="ru-RU" sz="2000" spc="-1" dirty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+7 (499)270 13 53   </a:t>
            </a:r>
            <a:r>
              <a:rPr lang="ru-RU" sz="2000" spc="-1" dirty="0" err="1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доб</a:t>
            </a:r>
            <a:r>
              <a:rPr lang="ru-RU" sz="2000" spc="-1" dirty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. 28 33 </a:t>
            </a:r>
            <a:endParaRPr lang="ru-RU" sz="1600" spc="-1" dirty="0">
              <a:solidFill>
                <a:srgbClr val="FFC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/>
            <a:r>
              <a:rPr lang="en-US" sz="2000" spc="-1" dirty="0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f</a:t>
            </a:r>
            <a:r>
              <a:rPr lang="ru-RU" sz="2000" spc="-1" dirty="0" err="1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edotova</a:t>
            </a:r>
            <a:r>
              <a:rPr lang="ru-RU" sz="2000" spc="-1" dirty="0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.</a:t>
            </a:r>
            <a:r>
              <a:rPr lang="en-US" sz="2000" spc="-1" dirty="0" err="1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kn</a:t>
            </a:r>
            <a:r>
              <a:rPr lang="ru-RU" sz="2000" spc="-1" dirty="0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@</a:t>
            </a:r>
            <a:r>
              <a:rPr lang="en-US" sz="2000" spc="-1" dirty="0" err="1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rosuchebnik</a:t>
            </a:r>
            <a:r>
              <a:rPr lang="ru-RU" sz="2000" spc="-1" dirty="0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.</a:t>
            </a:r>
            <a:r>
              <a:rPr lang="ru-RU" sz="2000" spc="-1" dirty="0" err="1" smtClean="0">
                <a:solidFill>
                  <a:srgbClr val="FFC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ru</a:t>
            </a:r>
            <a:endParaRPr lang="ru-RU" sz="1600" spc="-1" dirty="0">
              <a:solidFill>
                <a:srgbClr val="FFC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1182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CustomShape 5"/>
          <p:cNvSpPr/>
          <p:nvPr/>
        </p:nvSpPr>
        <p:spPr>
          <a:xfrm>
            <a:off x="2483640" y="4962960"/>
            <a:ext cx="4966920" cy="552600"/>
          </a:xfrm>
          <a:prstGeom prst="rect">
            <a:avLst/>
          </a:prstGeom>
          <a:solidFill>
            <a:srgbClr val="FFFFFF"/>
          </a:solidFill>
          <a:ln w="9360">
            <a:solidFill>
              <a:srgbClr val="F79646"/>
            </a:solidFill>
            <a:round/>
          </a:ln>
        </p:spPr>
      </p:sp>
      <p:sp>
        <p:nvSpPr>
          <p:cNvPr id="368" name="CustomShape 6"/>
          <p:cNvSpPr/>
          <p:nvPr/>
        </p:nvSpPr>
        <p:spPr>
          <a:xfrm>
            <a:off x="2720160" y="4386600"/>
            <a:ext cx="4728960" cy="887040"/>
          </a:xfrm>
          <a:prstGeom prst="roundRect">
            <a:avLst>
              <a:gd name="adj" fmla="val 16667"/>
            </a:avLst>
          </a:prstGeom>
          <a:gradFill>
            <a:gsLst>
              <a:gs pos="0">
                <a:srgbClr val="F1EAF8"/>
              </a:gs>
              <a:gs pos="50000">
                <a:srgbClr val="C8B3E9"/>
              </a:gs>
              <a:gs pos="100000">
                <a:srgbClr val="F1EAF8"/>
              </a:gs>
            </a:gsLst>
            <a:lin ang="16200000"/>
          </a:gradFill>
          <a:ln w="9360">
            <a:solidFill>
              <a:srgbClr val="7D5FA0"/>
            </a:solidFill>
            <a:round/>
          </a:ln>
        </p:spPr>
        <p:txBody>
          <a:bodyPr lIns="131400" tIns="0" rIns="131400" bIns="0" anchor="ctr"/>
          <a:lstStyle/>
          <a:p>
            <a:pPr>
              <a:lnSpc>
                <a:spcPct val="90000"/>
              </a:lnSpc>
            </a:pPr>
            <a:r>
              <a:rPr lang="ru-RU" sz="2800" b="1">
                <a:solidFill>
                  <a:srgbClr val="000000"/>
                </a:solidFill>
                <a:latin typeface="Times New Roman"/>
              </a:rPr>
              <a:t>Символы в музыке символы в книге</a:t>
            </a:r>
            <a:endParaRPr/>
          </a:p>
        </p:txBody>
      </p:sp>
      <p:sp>
        <p:nvSpPr>
          <p:cNvPr id="370" name="CustomShape 7"/>
          <p:cNvSpPr/>
          <p:nvPr/>
        </p:nvSpPr>
        <p:spPr>
          <a:xfrm>
            <a:off x="2699792" y="404640"/>
            <a:ext cx="4320480" cy="100813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C00000"/>
                </a:solidFill>
                <a:latin typeface="+mj-lt"/>
              </a:rPr>
              <a:t>Критериальная основа </a:t>
            </a:r>
            <a:endParaRPr lang="ru-RU" b="1" dirty="0" smtClean="0">
              <a:solidFill>
                <a:srgbClr val="C00000"/>
              </a:solidFill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 smtClean="0">
                <a:solidFill>
                  <a:srgbClr val="C00000"/>
                </a:solidFill>
                <a:latin typeface="+mj-lt"/>
              </a:rPr>
              <a:t>авторского 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выбора при создании</a:t>
            </a:r>
            <a:endParaRPr dirty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C00000"/>
                </a:solidFill>
                <a:latin typeface="+mj-lt"/>
              </a:rPr>
              <a:t>учебника по музыке</a:t>
            </a:r>
            <a:endParaRPr dirty="0">
              <a:latin typeface="+mj-lt"/>
            </a:endParaRPr>
          </a:p>
        </p:txBody>
      </p:sp>
      <p:sp>
        <p:nvSpPr>
          <p:cNvPr id="371" name="CustomShape 8"/>
          <p:cNvSpPr/>
          <p:nvPr/>
        </p:nvSpPr>
        <p:spPr>
          <a:xfrm>
            <a:off x="153928" y="836712"/>
            <a:ext cx="2111913" cy="3833731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00000"/>
                </a:solidFill>
                <a:latin typeface="+mj-lt"/>
              </a:rPr>
              <a:t>Учебник - как синтез символики, </a:t>
            </a:r>
            <a:endParaRPr sz="1600" dirty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00000"/>
                </a:solidFill>
                <a:latin typeface="+mj-lt"/>
              </a:rPr>
              <a:t>активизирующий зрительные, слуховые </a:t>
            </a:r>
            <a:endParaRPr sz="1600" dirty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00000"/>
                </a:solidFill>
                <a:latin typeface="+mj-lt"/>
              </a:rPr>
              <a:t>и пластические ощущения в совокупности, </a:t>
            </a:r>
            <a:endParaRPr sz="1600" dirty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00000"/>
                </a:solidFill>
                <a:latin typeface="+mj-lt"/>
              </a:rPr>
              <a:t>побуждающий к образному мышлению</a:t>
            </a:r>
            <a:endParaRPr sz="1600" dirty="0">
              <a:latin typeface="+mj-lt"/>
            </a:endParaRPr>
          </a:p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rgbClr val="000000"/>
                </a:solidFill>
                <a:latin typeface="+mj-lt"/>
              </a:rPr>
              <a:t>и чувствованию музыкой.</a:t>
            </a:r>
            <a:endParaRPr dirty="0">
              <a:latin typeface="+mj-lt"/>
            </a:endParaRPr>
          </a:p>
        </p:txBody>
      </p:sp>
      <p:pic>
        <p:nvPicPr>
          <p:cNvPr id="372" name="Picture 2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812360" y="908720"/>
            <a:ext cx="1080120" cy="1800200"/>
          </a:xfrm>
          <a:prstGeom prst="rect">
            <a:avLst/>
          </a:prstGeom>
        </p:spPr>
      </p:pic>
      <p:sp>
        <p:nvSpPr>
          <p:cNvPr id="373" name="CustomShape 9"/>
          <p:cNvSpPr/>
          <p:nvPr/>
        </p:nvSpPr>
        <p:spPr>
          <a:xfrm>
            <a:off x="5148064" y="1484784"/>
            <a:ext cx="2448272" cy="936104"/>
          </a:xfrm>
          <a:prstGeom prst="verticalScroll">
            <a:avLst>
              <a:gd name="adj" fmla="val 2700"/>
            </a:avLst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90000" tIns="46800" rIns="90000" bIns="46800" anchor="ctr"/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Особенности   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восприятия мира 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ребенком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374" name="CustomShape 10"/>
          <p:cNvSpPr/>
          <p:nvPr/>
        </p:nvSpPr>
        <p:spPr>
          <a:xfrm>
            <a:off x="2339752" y="1556792"/>
            <a:ext cx="2406616" cy="864096"/>
          </a:xfrm>
          <a:prstGeom prst="verticalScroll">
            <a:avLst>
              <a:gd name="adj" fmla="val 2700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озраст ребенка</a:t>
            </a:r>
            <a:endParaRPr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75" name="CustomShape 11"/>
          <p:cNvSpPr/>
          <p:nvPr/>
        </p:nvSpPr>
        <p:spPr>
          <a:xfrm>
            <a:off x="3563888" y="2564904"/>
            <a:ext cx="2736304" cy="936104"/>
          </a:xfrm>
          <a:prstGeom prst="verticalScroll">
            <a:avLst>
              <a:gd name="adj" fmla="val 2700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90000" tIns="46800" rIns="90000" bIns="46800" anchor="ctr"/>
          <a:lstStyle/>
          <a:p>
            <a:pPr algn="ctr">
              <a:lnSpc>
                <a:spcPct val="100000"/>
              </a:lnSpc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Символы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 музыке-</a:t>
            </a:r>
          </a:p>
          <a:p>
            <a:pPr algn="ctr">
              <a:lnSpc>
                <a:spcPct val="100000"/>
              </a:lnSpc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символы в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книге</a:t>
            </a:r>
            <a:endParaRPr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5" name="Picture 1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2360" y="3356993"/>
            <a:ext cx="1069192" cy="1678580"/>
          </a:xfrm>
          <a:prstGeom prst="rect">
            <a:avLst/>
          </a:prstGeom>
        </p:spPr>
      </p:pic>
      <p:sp>
        <p:nvSpPr>
          <p:cNvPr id="16" name="Скругленный прямоугольник 15"/>
          <p:cNvSpPr/>
          <p:nvPr/>
        </p:nvSpPr>
        <p:spPr>
          <a:xfrm>
            <a:off x="2231740" y="3897054"/>
            <a:ext cx="5328592" cy="237639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Функция учебника - учить учиться у самого искусства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, проникая в его духовное содержание. </a:t>
            </a:r>
          </a:p>
          <a:p>
            <a:pPr algn="ctr"/>
            <a:r>
              <a:rPr lang="ru-RU" sz="1600" u="sng" dirty="0" smtClean="0">
                <a:solidFill>
                  <a:schemeClr val="accent1">
                    <a:lumMod val="50000"/>
                  </a:schemeClr>
                </a:solidFill>
              </a:rPr>
              <a:t>Учебник в роли собеседника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: давая больше простора для звучания самой музыки на уроке, </a:t>
            </a:r>
            <a:r>
              <a:rPr lang="ru-RU" sz="1600" u="sng" dirty="0" smtClean="0">
                <a:solidFill>
                  <a:schemeClr val="accent1">
                    <a:lumMod val="50000"/>
                  </a:schemeClr>
                </a:solidFill>
              </a:rPr>
              <a:t>сохраняет широкую эстетическую направленность занятий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за счет привлечения художественно-графических, словесно-поэтических образов, которые своими средствами выявляют жизненное содержание искусства, его вечные темы: мир, человек, природа.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CustomShape 1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59" name="CustomShape 2"/>
          <p:cNvSpPr/>
          <p:nvPr/>
        </p:nvSpPr>
        <p:spPr>
          <a:xfrm>
            <a:off x="0" y="0"/>
            <a:ext cx="11795760" cy="11795760"/>
          </a:xfrm>
          <a:prstGeom prst="rect">
            <a:avLst/>
          </a:prstGeom>
        </p:spPr>
      </p:sp>
      <p:sp>
        <p:nvSpPr>
          <p:cNvPr id="261" name="CustomShape 3"/>
          <p:cNvSpPr/>
          <p:nvPr/>
        </p:nvSpPr>
        <p:spPr>
          <a:xfrm>
            <a:off x="0" y="5715000"/>
            <a:ext cx="3427560" cy="77184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80000"/>
              </a:lnSpc>
            </a:pPr>
            <a:endParaRPr/>
          </a:p>
          <a:p>
            <a:pPr>
              <a:lnSpc>
                <a:spcPct val="80000"/>
              </a:lnSpc>
            </a:pPr>
            <a:endParaRPr/>
          </a:p>
        </p:txBody>
      </p:sp>
      <p:sp>
        <p:nvSpPr>
          <p:cNvPr id="265" name="CustomShape 6"/>
          <p:cNvSpPr/>
          <p:nvPr/>
        </p:nvSpPr>
        <p:spPr>
          <a:xfrm>
            <a:off x="1295280" y="5181480"/>
            <a:ext cx="6247080" cy="1141560"/>
          </a:xfrm>
          <a:prstGeom prst="roundRect">
            <a:avLst>
              <a:gd name="adj" fmla="val 16667"/>
            </a:avLst>
          </a:prstGeom>
        </p:spPr>
      </p:sp>
      <p:sp>
        <p:nvSpPr>
          <p:cNvPr id="269" name="CustomShape 8"/>
          <p:cNvSpPr/>
          <p:nvPr/>
        </p:nvSpPr>
        <p:spPr>
          <a:xfrm>
            <a:off x="3074967" y="1201707"/>
            <a:ext cx="5111280" cy="1728312"/>
          </a:xfrm>
          <a:prstGeom prst="rect">
            <a:avLst/>
          </a:prstGeom>
          <a:gradFill>
            <a:gsLst>
              <a:gs pos="0">
                <a:srgbClr val="FFF1EC"/>
              </a:gs>
              <a:gs pos="50000">
                <a:srgbClr val="FFD2BC"/>
              </a:gs>
              <a:gs pos="100000">
                <a:srgbClr val="FFF1EC"/>
              </a:gs>
            </a:gsLst>
            <a:lin ang="16200000"/>
          </a:gradFill>
          <a:ln w="9360">
            <a:solidFill>
              <a:srgbClr val="F59240"/>
            </a:solidFill>
            <a:round/>
          </a:ln>
        </p:spPr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000" b="1" dirty="0">
                <a:solidFill>
                  <a:srgbClr val="000000"/>
                </a:solidFill>
                <a:latin typeface="Calibri"/>
              </a:rPr>
              <a:t>оптимально и целостно реализует идею преподавания музыки в школе сообразно 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    природе </a:t>
            </a:r>
            <a:r>
              <a:rPr lang="ru-RU" sz="2000" b="1" dirty="0">
                <a:solidFill>
                  <a:srgbClr val="002060"/>
                </a:solidFill>
                <a:latin typeface="Calibri"/>
              </a:rPr>
              <a:t>искусства, </a:t>
            </a:r>
            <a:endParaRPr sz="1600" dirty="0"/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природе </a:t>
            </a:r>
            <a:r>
              <a:rPr lang="ru-RU" sz="2000" b="1" dirty="0">
                <a:solidFill>
                  <a:srgbClr val="002060"/>
                </a:solidFill>
                <a:latin typeface="Calibri"/>
              </a:rPr>
              <a:t>ребенка </a:t>
            </a:r>
            <a:endParaRPr lang="ru-RU" sz="2000" b="1" dirty="0" smtClean="0">
              <a:solidFill>
                <a:srgbClr val="002060"/>
              </a:solidFill>
              <a:latin typeface="Calibri"/>
            </a:endParaRPr>
          </a:p>
          <a:p>
            <a:pPr algn="ctr">
              <a:lnSpc>
                <a:spcPct val="100000"/>
              </a:lnSpc>
            </a:pP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     и </a:t>
            </a:r>
            <a:r>
              <a:rPr lang="ru-RU" sz="2000" b="1" dirty="0">
                <a:solidFill>
                  <a:srgbClr val="002060"/>
                </a:solidFill>
                <a:latin typeface="Calibri"/>
              </a:rPr>
              <a:t>природе художественного творчества.</a:t>
            </a:r>
            <a:endParaRPr sz="1600" dirty="0"/>
          </a:p>
        </p:txBody>
      </p:sp>
      <p:sp>
        <p:nvSpPr>
          <p:cNvPr id="270" name="CustomShape 9"/>
          <p:cNvSpPr/>
          <p:nvPr/>
        </p:nvSpPr>
        <p:spPr>
          <a:xfrm>
            <a:off x="2051720" y="0"/>
            <a:ext cx="5743080" cy="718560"/>
          </a:xfrm>
          <a:prstGeom prst="roundRect">
            <a:avLst>
              <a:gd name="adj" fmla="val 16667"/>
            </a:avLst>
          </a:prstGeom>
        </p:spPr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endParaRPr lang="ru-RU" sz="2400" b="1" dirty="0" smtClean="0">
              <a:solidFill>
                <a:srgbClr val="FF0000"/>
              </a:solidFill>
              <a:latin typeface="Times New Roman"/>
            </a:endParaRPr>
          </a:p>
          <a:p>
            <a:pPr algn="ctr">
              <a:lnSpc>
                <a:spcPct val="100000"/>
              </a:lnSpc>
            </a:pPr>
            <a:endParaRPr lang="ru-RU" sz="2400" b="1" dirty="0" smtClean="0">
              <a:solidFill>
                <a:srgbClr val="FF0000"/>
              </a:solidFill>
              <a:latin typeface="Times New Roman"/>
            </a:endParaRPr>
          </a:p>
          <a:p>
            <a:pPr algn="ctr">
              <a:lnSpc>
                <a:spcPct val="100000"/>
              </a:lnSpc>
            </a:pPr>
            <a:r>
              <a:rPr lang="ru-RU" sz="2400" b="1" dirty="0" smtClean="0">
                <a:solidFill>
                  <a:srgbClr val="FF0000"/>
                </a:solidFill>
                <a:latin typeface="Times New Roman"/>
              </a:rPr>
              <a:t>МЕТОДОЛОГИЧЕСКАЯ</a:t>
            </a:r>
            <a:endParaRPr dirty="0"/>
          </a:p>
          <a:p>
            <a:pPr algn="ctr">
              <a:lnSpc>
                <a:spcPct val="100000"/>
              </a:lnSpc>
            </a:pPr>
            <a:r>
              <a:rPr lang="ru-RU" sz="2400" b="1" dirty="0">
                <a:solidFill>
                  <a:srgbClr val="FF0000"/>
                </a:solidFill>
                <a:latin typeface="Times New Roman"/>
              </a:rPr>
              <a:t>ОСНОВА  УМК  «МУЗЫКА»</a:t>
            </a:r>
            <a:endParaRPr dirty="0"/>
          </a:p>
          <a:p>
            <a:pPr algn="ctr">
              <a:lnSpc>
                <a:spcPct val="100000"/>
              </a:lnSpc>
            </a:pPr>
            <a:endParaRPr dirty="0"/>
          </a:p>
        </p:txBody>
      </p:sp>
      <p:sp>
        <p:nvSpPr>
          <p:cNvPr id="271" name="CustomShape 10"/>
          <p:cNvSpPr/>
          <p:nvPr/>
        </p:nvSpPr>
        <p:spPr>
          <a:xfrm>
            <a:off x="3440097" y="3502027"/>
            <a:ext cx="4570560" cy="2528640"/>
          </a:xfrm>
          <a:prstGeom prst="rect">
            <a:avLst/>
          </a:prstGeom>
          <a:gradFill>
            <a:gsLst>
              <a:gs pos="0">
                <a:srgbClr val="E6F7FF"/>
              </a:gs>
              <a:gs pos="50000">
                <a:srgbClr val="A6E6FF"/>
              </a:gs>
              <a:gs pos="100000">
                <a:srgbClr val="E6F7FF"/>
              </a:gs>
            </a:gsLst>
            <a:lin ang="16200000"/>
          </a:gradFill>
          <a:ln w="9360">
            <a:solidFill>
              <a:srgbClr val="46AAC4"/>
            </a:solidFill>
            <a:round/>
          </a:ln>
        </p:spPr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Содержание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Методических рекомендаций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для 2 класса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Примерные поурочные разработки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1 четверть. </a:t>
            </a:r>
            <a:r>
              <a:rPr lang="ru-RU" sz="2000" b="1" i="1">
                <a:solidFill>
                  <a:srgbClr val="FF0000"/>
                </a:solidFill>
                <a:latin typeface="Times New Roman"/>
              </a:rPr>
              <a:t>Вступление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2 четверть. </a:t>
            </a:r>
            <a:r>
              <a:rPr lang="ru-RU" sz="2000" b="1" i="1">
                <a:solidFill>
                  <a:srgbClr val="FF0000"/>
                </a:solidFill>
                <a:latin typeface="Times New Roman"/>
              </a:rPr>
              <a:t>Завязка. Развитие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3 четверть. </a:t>
            </a:r>
            <a:r>
              <a:rPr lang="ru-RU" sz="2000" b="1" i="1">
                <a:solidFill>
                  <a:srgbClr val="FF0000"/>
                </a:solidFill>
                <a:latin typeface="Times New Roman"/>
              </a:rPr>
              <a:t>Кульминация</a:t>
            </a:r>
            <a:endParaRPr/>
          </a:p>
          <a:p>
            <a:pPr algn="ctr">
              <a:lnSpc>
                <a:spcPct val="100000"/>
              </a:lnSpc>
            </a:pPr>
            <a:r>
              <a:rPr lang="ru-RU" sz="2000" b="1">
                <a:solidFill>
                  <a:srgbClr val="000000"/>
                </a:solidFill>
                <a:latin typeface="Times New Roman"/>
              </a:rPr>
              <a:t>4 четверть. </a:t>
            </a:r>
            <a:r>
              <a:rPr lang="ru-RU" sz="2000" b="1" i="1">
                <a:solidFill>
                  <a:srgbClr val="FF0000"/>
                </a:solidFill>
                <a:latin typeface="Times New Roman"/>
              </a:rPr>
              <a:t>Развязка </a:t>
            </a:r>
            <a:endParaRPr/>
          </a:p>
        </p:txBody>
      </p:sp>
      <p:pic>
        <p:nvPicPr>
          <p:cNvPr id="272" name="Picture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09518" y="654012"/>
            <a:ext cx="1438560" cy="2374920"/>
          </a:xfrm>
          <a:prstGeom prst="rect">
            <a:avLst/>
          </a:prstGeom>
        </p:spPr>
      </p:pic>
      <p:pic>
        <p:nvPicPr>
          <p:cNvPr id="273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46031" y="3319461"/>
            <a:ext cx="1510560" cy="2545560"/>
          </a:xfrm>
          <a:prstGeom prst="rect">
            <a:avLst/>
          </a:prstGeom>
        </p:spPr>
      </p:pic>
      <p:sp>
        <p:nvSpPr>
          <p:cNvPr id="19" name="Выгнутая влево стрелка 18"/>
          <p:cNvSpPr/>
          <p:nvPr/>
        </p:nvSpPr>
        <p:spPr>
          <a:xfrm>
            <a:off x="2344707" y="2151045"/>
            <a:ext cx="1080120" cy="1872208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rgbClr val="0070C0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презентации РУ 16х9 sh fin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sh fin" id="{72F065E1-9FFD-5247-B932-EC7386BFCFC9}" vid="{AD890178-7021-8C44-9F3D-44FC5895AB9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3</TotalTime>
  <Words>3627</Words>
  <Application>Microsoft Office PowerPoint</Application>
  <PresentationFormat>Экран (4:3)</PresentationFormat>
  <Paragraphs>725</Paragraphs>
  <Slides>79</Slides>
  <Notes>2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82" baseType="lpstr">
      <vt:lpstr>Тема Office</vt:lpstr>
      <vt:lpstr>1_Шаблон презентации РУ 16х9 sh fin</vt:lpstr>
      <vt:lpstr>Acrobat Document</vt:lpstr>
      <vt:lpstr>   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нтральные проблемы каждого года обучения  в начальной школ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ентральные проблемы каждого года обучения  в основной школе</vt:lpstr>
      <vt:lpstr>Презентация PowerPoint</vt:lpstr>
      <vt:lpstr>Презентация PowerPoint</vt:lpstr>
      <vt:lpstr>Особенности авторского подхода к содержанию учебника</vt:lpstr>
      <vt:lpstr>Презентация PowerPoint</vt:lpstr>
      <vt:lpstr>Презентация PowerPoint</vt:lpstr>
      <vt:lpstr>Презентация PowerPoint</vt:lpstr>
      <vt:lpstr>Особенности авторского подхода к содержанию учебника</vt:lpstr>
      <vt:lpstr>Особенности авторского подхода к содержанию учебн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ворческие задания</vt:lpstr>
      <vt:lpstr>Проектная деятельность</vt:lpstr>
      <vt:lpstr>Презентация PowerPoint</vt:lpstr>
      <vt:lpstr>Презентация PowerPoint</vt:lpstr>
      <vt:lpstr>Презентация PowerPoint</vt:lpstr>
      <vt:lpstr>Мониторинг качества подготовки</vt:lpstr>
      <vt:lpstr>Мы должны готовить наших детей к их «завтра», а не к нашему вчера.  Электронная форма учебника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комендации  по скачиванию электронного сертифика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rofa Lt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рмационно-методическое обеспечение образовательного процесса средствами УМК по искусству</dc:title>
  <dc:creator>zgonnik.m</dc:creator>
  <cp:lastModifiedBy>Пользователь</cp:lastModifiedBy>
  <cp:revision>224</cp:revision>
  <dcterms:created xsi:type="dcterms:W3CDTF">2016-02-29T07:29:54Z</dcterms:created>
  <dcterms:modified xsi:type="dcterms:W3CDTF">2018-03-29T06:56:44Z</dcterms:modified>
</cp:coreProperties>
</file>